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9"/>
  </p:notesMasterIdLst>
  <p:sldIdLst>
    <p:sldId id="256" r:id="rId3"/>
    <p:sldId id="274" r:id="rId4"/>
    <p:sldId id="275" r:id="rId5"/>
    <p:sldId id="276" r:id="rId6"/>
    <p:sldId id="265" r:id="rId7"/>
    <p:sldId id="278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443B"/>
    <a:srgbClr val="B0F7F4"/>
    <a:srgbClr val="125680"/>
    <a:srgbClr val="0C152C"/>
    <a:srgbClr val="070C1E"/>
    <a:srgbClr val="12214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99" autoAdjust="0"/>
    <p:restoredTop sz="94249" autoAdjust="0"/>
  </p:normalViewPr>
  <p:slideViewPr>
    <p:cSldViewPr snapToGrid="0">
      <p:cViewPr>
        <p:scale>
          <a:sx n="70" d="100"/>
          <a:sy n="70" d="100"/>
        </p:scale>
        <p:origin x="73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1E6909-83F1-4324-83D2-287D668823ED}" type="datetimeFigureOut">
              <a:rPr lang="en-US" smtClean="0"/>
              <a:t>11/16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B29122-58DF-4E14-BE8A-E1ABE85C67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60082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DE5F4B-E26A-41E3-B0CB-D243FAB882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27711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65F-E1CD-4DF5-869D-309059F8B1B3}" type="datetimeFigureOut">
              <a:rPr lang="en-US" smtClean="0"/>
              <a:t>11/16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06107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65F-E1CD-4DF5-869D-309059F8B1B3}" type="datetimeFigureOut">
              <a:rPr lang="en-US" smtClean="0"/>
              <a:t>11/16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68959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65F-E1CD-4DF5-869D-309059F8B1B3}" type="datetimeFigureOut">
              <a:rPr lang="en-US" smtClean="0"/>
              <a:t>11/16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85275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D40A7A7-E9A0-4E04-A49D-FE5DEC9F4F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73F6A6D-2933-4FAD-B95C-A0D8298AC4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A1EC83C-127F-430C-A981-D8CDF8DD6D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1/16/2020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E88149A-BEF0-4F7B-8175-F5136B8410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9C567D5-4742-4738-9BE8-8148B19D55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12527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3631645-05F2-42CC-990A-FE1E442CF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4AF4B2AF-0EAB-4DD5-BA8A-594AB3F723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175CA05-DE11-4821-87B3-2594A7DE94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1/16/2020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0150A0A-D7E0-4856-8B04-710F795114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93F59CB-1332-4175-A659-1310144096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81602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D5A922D-7AA7-45C9-A6C4-19F6B07A8A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98353FFD-4116-4527-841E-470B837377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0CF3870-B2B5-44D6-8FA5-890A275DC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1/16/2020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2E72FE6-5D19-451F-9CB6-B637EDBBB6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E3AB048-EF6A-4A0B-88FC-E805A7B671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768937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96024D-A637-4D3D-A3C3-E51849E4EA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8794A67-D5A5-469A-B1CD-1C83C442CB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C095398-59CD-4A6B-AD9F-B35E537922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3EE7AEF0-32FF-481B-A002-5B012F2BB0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1/16/2020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6D61269F-754D-4A95-B0C9-9F38D8A6C4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18BFB2A5-1F5A-47E9-A384-0947F1A48B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73214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333A92-F24E-406B-993A-04C553415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9DB3173-72F6-46FE-9F12-9F7FF252C1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B527B14-E58F-4D40-827C-6B4E752B23D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26AD5A4D-45D3-4702-81CE-C77E2FA5D3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F926C578-FF78-42C9-A43F-677D66D6CCA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D83E1B79-BD75-4F0A-A671-CB4F1BD5C6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1/16/2020</a:t>
            </a:fld>
            <a:endParaRPr lang="en-US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5C43D1EF-194D-4B37-B04D-484158711E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6C3FF4F0-A418-498B-964B-874AF65A6C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14976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825A8A-E789-477D-A451-59584E879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63D12ECF-C450-4B6B-BBA5-08F75FF3D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1/16/2020</a:t>
            </a:fld>
            <a:endParaRPr lang="en-U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594BD71-31AC-4C72-A7B4-F48F8DC72E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BEB595B-4295-4B15-9AAD-F198E95778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75459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EDEB6072-05AA-4752-80DA-AE6F56C862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1/16/2020</a:t>
            </a:fld>
            <a:endParaRPr lang="en-US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1A5C52C8-F3E6-4DC5-897D-93B274658B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75D5AC2-1AB1-41D5-8809-5F6B837BB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79039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3CAE93C-5CB0-42CE-8ABB-DE34A38106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219579B-188C-4737-84D1-489AF37F83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3C1D86F-43C7-4764-A6DE-2054B14F38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EA4B1755-41EE-4596-AF6B-7B7AC6521A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1/16/2020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817AFD1-24CA-4858-98E9-D3FB4BFE79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370F2F19-CC95-41B5-BEC0-07E40A502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36810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65F-E1CD-4DF5-869D-309059F8B1B3}" type="datetimeFigureOut">
              <a:rPr lang="en-US" smtClean="0"/>
              <a:t>11/16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68889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C79839E-A93F-4AE9-B777-42DAD35F18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33CF7405-E3F4-4791-863E-C6EF68F9544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7C3DB3E-F861-45AF-8148-34918DAD4A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7E49FE0F-292E-4746-8C08-25C3F8DF8D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1/16/2020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8694BCFF-F1B8-4296-AD1A-ADFCADAD11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4D71DB56-B6EE-4609-8CB3-30A1A79A5B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96430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B989F7A-3FC7-4D7B-A4B2-D67DFE33F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26E80C77-C77E-4F04-95FA-A187125D826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2B80840-17DC-4527-848A-2965F90D1B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1/16/2020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07D085F-FFE8-4455-BF30-920907E47D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CB9C9C8-5946-4A60-8BD1-963B288BE1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79232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8EC17D5-2304-44C5-B1E5-0D6966D77D7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8AD8E4A2-2AA6-442C-AAE8-B13FA90D816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E569C75-6D8F-4695-8C85-B3F92DC67E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11/16/2020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70D4CDB-2F02-4BFB-AA4F-D0C1E4C03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299153B-8F05-4C01-8841-58CE5AB57D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88320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65F-E1CD-4DF5-869D-309059F8B1B3}" type="datetimeFigureOut">
              <a:rPr lang="en-US" smtClean="0"/>
              <a:t>11/16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20412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65F-E1CD-4DF5-869D-309059F8B1B3}" type="datetimeFigureOut">
              <a:rPr lang="en-US" smtClean="0"/>
              <a:t>11/16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11557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65F-E1CD-4DF5-869D-309059F8B1B3}" type="datetimeFigureOut">
              <a:rPr lang="en-US" smtClean="0"/>
              <a:t>11/16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82214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65F-E1CD-4DF5-869D-309059F8B1B3}" type="datetimeFigureOut">
              <a:rPr lang="en-US" smtClean="0"/>
              <a:t>11/16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52367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65F-E1CD-4DF5-869D-309059F8B1B3}" type="datetimeFigureOut">
              <a:rPr lang="en-US" smtClean="0"/>
              <a:t>11/16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10191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65F-E1CD-4DF5-869D-309059F8B1B3}" type="datetimeFigureOut">
              <a:rPr lang="en-US" smtClean="0"/>
              <a:t>11/16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85066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65F-E1CD-4DF5-869D-309059F8B1B3}" type="datetimeFigureOut">
              <a:rPr lang="en-US" smtClean="0"/>
              <a:t>11/16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97740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CAB65F-E1CD-4DF5-869D-309059F8B1B3}" type="datetimeFigureOut">
              <a:rPr lang="en-US" smtClean="0"/>
              <a:t>11/16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85ABD7-13F5-4022-B0BE-A42311CF70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4792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108B790-5212-4C17-9F64-1BB6A6995A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12664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108B790-5212-4C17-9F64-1BB6A6995A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A474207-4A5F-4A30-8C50-83C7F03A259A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6C9F4F55-DD75-4B22-A02D-60616CE849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89DB8B19-48EC-4A01-AB1C-6B0DA56200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8F6F3C4-BC08-462F-9268-5C9F6B78A7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1AF5FE-C9EF-4E41-B249-757B17A47A1B}" type="datetimeFigureOut">
              <a:rPr lang="en-US" smtClean="0"/>
              <a:t>11/16/2020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1BD2215-ED0A-4ECD-AEFD-D1211E4C15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3FCAEF1-AD48-4328-A590-63C6EA282D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4139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png"/><Relationship Id="rId12" Type="http://schemas.openxmlformats.org/officeDocument/2006/relationships/image" Target="../media/image9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8.sv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6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10" Type="http://schemas.openxmlformats.org/officeDocument/2006/relationships/image" Target="../media/image12.jpeg"/><Relationship Id="rId4" Type="http://schemas.openxmlformats.org/officeDocument/2006/relationships/oleObject" Target="../embeddings/oleObject3.bin"/><Relationship Id="rId9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8.svg"/><Relationship Id="rId10" Type="http://schemas.openxmlformats.org/officeDocument/2006/relationships/image" Target="../media/image14.jpeg"/><Relationship Id="rId4" Type="http://schemas.openxmlformats.org/officeDocument/2006/relationships/image" Target="../media/image7.png"/><Relationship Id="rId9" Type="http://schemas.openxmlformats.org/officeDocument/2006/relationships/image" Target="../media/image13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7.png"/><Relationship Id="rId12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7.emf"/><Relationship Id="rId11" Type="http://schemas.openxmlformats.org/officeDocument/2006/relationships/image" Target="../media/image9.emf"/><Relationship Id="rId5" Type="http://schemas.openxmlformats.org/officeDocument/2006/relationships/image" Target="../media/image1.emf"/><Relationship Id="rId10" Type="http://schemas.openxmlformats.org/officeDocument/2006/relationships/image" Target="../media/image5.svg"/><Relationship Id="rId4" Type="http://schemas.openxmlformats.org/officeDocument/2006/relationships/oleObject" Target="../embeddings/oleObject5.bin"/><Relationship Id="rId9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0" y="0"/>
            <a:ext cx="12188891" cy="5646040"/>
          </a:xfrm>
          <a:prstGeom prst="rect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9" name="Oval 57"/>
          <p:cNvSpPr>
            <a:spLocks noChangeArrowheads="1"/>
          </p:cNvSpPr>
          <p:nvPr/>
        </p:nvSpPr>
        <p:spPr bwMode="auto">
          <a:xfrm>
            <a:off x="7664344" y="1374182"/>
            <a:ext cx="2558678" cy="2560023"/>
          </a:xfrm>
          <a:prstGeom prst="ellipse">
            <a:avLst/>
          </a:prstGeom>
          <a:gradFill flip="none" rotWithShape="1">
            <a:gsLst>
              <a:gs pos="100000">
                <a:srgbClr val="B0F7F4">
                  <a:alpha val="20000"/>
                </a:srgbClr>
              </a:gs>
              <a:gs pos="0">
                <a:srgbClr val="B0F7F4">
                  <a:alpha val="0"/>
                </a:srgb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6"/>
          <p:cNvSpPr>
            <a:spLocks/>
          </p:cNvSpPr>
          <p:nvPr/>
        </p:nvSpPr>
        <p:spPr bwMode="auto">
          <a:xfrm>
            <a:off x="-200025" y="4682838"/>
            <a:ext cx="1939860" cy="963204"/>
          </a:xfrm>
          <a:custGeom>
            <a:avLst/>
            <a:gdLst>
              <a:gd name="T0" fmla="*/ 0 w 1442"/>
              <a:gd name="T1" fmla="*/ 716 h 716"/>
              <a:gd name="T2" fmla="*/ 1442 w 1442"/>
              <a:gd name="T3" fmla="*/ 716 h 716"/>
              <a:gd name="T4" fmla="*/ 725 w 1442"/>
              <a:gd name="T5" fmla="*/ 0 h 716"/>
              <a:gd name="T6" fmla="*/ 0 w 1442"/>
              <a:gd name="T7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42" h="716">
                <a:moveTo>
                  <a:pt x="0" y="716"/>
                </a:moveTo>
                <a:lnTo>
                  <a:pt x="1442" y="716"/>
                </a:lnTo>
                <a:lnTo>
                  <a:pt x="725" y="0"/>
                </a:lnTo>
                <a:lnTo>
                  <a:pt x="0" y="716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/>
        </p:nvSpPr>
        <p:spPr bwMode="auto">
          <a:xfrm>
            <a:off x="851965" y="4156843"/>
            <a:ext cx="2995886" cy="1489199"/>
          </a:xfrm>
          <a:custGeom>
            <a:avLst/>
            <a:gdLst>
              <a:gd name="T0" fmla="*/ 0 w 2227"/>
              <a:gd name="T1" fmla="*/ 1107 h 1107"/>
              <a:gd name="T2" fmla="*/ 2227 w 2227"/>
              <a:gd name="T3" fmla="*/ 1107 h 1107"/>
              <a:gd name="T4" fmla="*/ 1121 w 2227"/>
              <a:gd name="T5" fmla="*/ 0 h 1107"/>
              <a:gd name="T6" fmla="*/ 0 w 2227"/>
              <a:gd name="T7" fmla="*/ 1107 h 1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27" h="1107">
                <a:moveTo>
                  <a:pt x="0" y="1107"/>
                </a:moveTo>
                <a:lnTo>
                  <a:pt x="2227" y="1107"/>
                </a:lnTo>
                <a:lnTo>
                  <a:pt x="1121" y="0"/>
                </a:lnTo>
                <a:lnTo>
                  <a:pt x="0" y="1107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/>
        </p:nvSpPr>
        <p:spPr bwMode="auto">
          <a:xfrm>
            <a:off x="4276988" y="5063546"/>
            <a:ext cx="1173064" cy="582496"/>
          </a:xfrm>
          <a:custGeom>
            <a:avLst/>
            <a:gdLst>
              <a:gd name="T0" fmla="*/ 0 w 872"/>
              <a:gd name="T1" fmla="*/ 433 h 433"/>
              <a:gd name="T2" fmla="*/ 872 w 872"/>
              <a:gd name="T3" fmla="*/ 433 h 433"/>
              <a:gd name="T4" fmla="*/ 440 w 872"/>
              <a:gd name="T5" fmla="*/ 0 h 433"/>
              <a:gd name="T6" fmla="*/ 0 w 872"/>
              <a:gd name="T7" fmla="*/ 433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72" h="433">
                <a:moveTo>
                  <a:pt x="0" y="433"/>
                </a:moveTo>
                <a:lnTo>
                  <a:pt x="872" y="433"/>
                </a:lnTo>
                <a:lnTo>
                  <a:pt x="440" y="0"/>
                </a:lnTo>
                <a:lnTo>
                  <a:pt x="0" y="433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/>
        </p:nvSpPr>
        <p:spPr bwMode="auto">
          <a:xfrm>
            <a:off x="10227057" y="4513336"/>
            <a:ext cx="2280210" cy="1132706"/>
          </a:xfrm>
          <a:custGeom>
            <a:avLst/>
            <a:gdLst>
              <a:gd name="T0" fmla="*/ 0 w 1695"/>
              <a:gd name="T1" fmla="*/ 842 h 842"/>
              <a:gd name="T2" fmla="*/ 1695 w 1695"/>
              <a:gd name="T3" fmla="*/ 842 h 842"/>
              <a:gd name="T4" fmla="*/ 853 w 1695"/>
              <a:gd name="T5" fmla="*/ 0 h 842"/>
              <a:gd name="T6" fmla="*/ 0 w 1695"/>
              <a:gd name="T7" fmla="*/ 842 h 8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95" h="842">
                <a:moveTo>
                  <a:pt x="0" y="842"/>
                </a:moveTo>
                <a:lnTo>
                  <a:pt x="1695" y="842"/>
                </a:lnTo>
                <a:lnTo>
                  <a:pt x="853" y="0"/>
                </a:lnTo>
                <a:lnTo>
                  <a:pt x="0" y="842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/>
        </p:nvSpPr>
        <p:spPr bwMode="auto">
          <a:xfrm>
            <a:off x="8928885" y="1643904"/>
            <a:ext cx="4818708" cy="1997706"/>
          </a:xfrm>
          <a:custGeom>
            <a:avLst/>
            <a:gdLst>
              <a:gd name="T0" fmla="*/ 0 w 3582"/>
              <a:gd name="T1" fmla="*/ 743 h 1485"/>
              <a:gd name="T2" fmla="*/ 3582 w 3582"/>
              <a:gd name="T3" fmla="*/ 0 h 1485"/>
              <a:gd name="T4" fmla="*/ 3582 w 3582"/>
              <a:gd name="T5" fmla="*/ 1485 h 1485"/>
              <a:gd name="T6" fmla="*/ 0 w 3582"/>
              <a:gd name="T7" fmla="*/ 743 h 14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582" h="1485">
                <a:moveTo>
                  <a:pt x="0" y="743"/>
                </a:moveTo>
                <a:lnTo>
                  <a:pt x="3582" y="0"/>
                </a:lnTo>
                <a:lnTo>
                  <a:pt x="3582" y="1485"/>
                </a:lnTo>
                <a:lnTo>
                  <a:pt x="0" y="743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8000">
                <a:srgbClr val="B0F7F4">
                  <a:alpha val="0"/>
                </a:srgbClr>
              </a:gs>
            </a:gsLst>
            <a:lin ang="108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/>
        </p:nvSpPr>
        <p:spPr bwMode="auto">
          <a:xfrm>
            <a:off x="4111522" y="1643904"/>
            <a:ext cx="4817363" cy="1997706"/>
          </a:xfrm>
          <a:custGeom>
            <a:avLst/>
            <a:gdLst>
              <a:gd name="T0" fmla="*/ 3581 w 3581"/>
              <a:gd name="T1" fmla="*/ 743 h 1485"/>
              <a:gd name="T2" fmla="*/ 0 w 3581"/>
              <a:gd name="T3" fmla="*/ 0 h 1485"/>
              <a:gd name="T4" fmla="*/ 0 w 3581"/>
              <a:gd name="T5" fmla="*/ 1485 h 1485"/>
              <a:gd name="T6" fmla="*/ 3581 w 3581"/>
              <a:gd name="T7" fmla="*/ 743 h 14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581" h="1485">
                <a:moveTo>
                  <a:pt x="3581" y="743"/>
                </a:moveTo>
                <a:lnTo>
                  <a:pt x="0" y="0"/>
                </a:lnTo>
                <a:lnTo>
                  <a:pt x="0" y="1485"/>
                </a:lnTo>
                <a:lnTo>
                  <a:pt x="3581" y="743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8000">
                <a:srgbClr val="B0F7F4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Freeform 12"/>
          <p:cNvSpPr>
            <a:spLocks/>
          </p:cNvSpPr>
          <p:nvPr/>
        </p:nvSpPr>
        <p:spPr bwMode="auto">
          <a:xfrm>
            <a:off x="8277781" y="3921423"/>
            <a:ext cx="3472107" cy="1724619"/>
          </a:xfrm>
          <a:custGeom>
            <a:avLst/>
            <a:gdLst>
              <a:gd name="T0" fmla="*/ 0 w 2581"/>
              <a:gd name="T1" fmla="*/ 1282 h 1282"/>
              <a:gd name="T2" fmla="*/ 2581 w 2581"/>
              <a:gd name="T3" fmla="*/ 1282 h 1282"/>
              <a:gd name="T4" fmla="*/ 1298 w 2581"/>
              <a:gd name="T5" fmla="*/ 0 h 1282"/>
              <a:gd name="T6" fmla="*/ 0 w 2581"/>
              <a:gd name="T7" fmla="*/ 1282 h 12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581" h="1282">
                <a:moveTo>
                  <a:pt x="0" y="1282"/>
                </a:moveTo>
                <a:lnTo>
                  <a:pt x="2581" y="1282"/>
                </a:lnTo>
                <a:lnTo>
                  <a:pt x="1298" y="0"/>
                </a:lnTo>
                <a:lnTo>
                  <a:pt x="0" y="1282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Freeform 13"/>
          <p:cNvSpPr>
            <a:spLocks/>
          </p:cNvSpPr>
          <p:nvPr/>
        </p:nvSpPr>
        <p:spPr bwMode="auto">
          <a:xfrm>
            <a:off x="3847851" y="5312418"/>
            <a:ext cx="671283" cy="333624"/>
          </a:xfrm>
          <a:custGeom>
            <a:avLst/>
            <a:gdLst>
              <a:gd name="T0" fmla="*/ 0 w 499"/>
              <a:gd name="T1" fmla="*/ 248 h 248"/>
              <a:gd name="T2" fmla="*/ 499 w 499"/>
              <a:gd name="T3" fmla="*/ 248 h 248"/>
              <a:gd name="T4" fmla="*/ 250 w 499"/>
              <a:gd name="T5" fmla="*/ 0 h 248"/>
              <a:gd name="T6" fmla="*/ 0 w 499"/>
              <a:gd name="T7" fmla="*/ 248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99" h="248">
                <a:moveTo>
                  <a:pt x="0" y="248"/>
                </a:moveTo>
                <a:lnTo>
                  <a:pt x="499" y="248"/>
                </a:lnTo>
                <a:lnTo>
                  <a:pt x="250" y="0"/>
                </a:lnTo>
                <a:lnTo>
                  <a:pt x="0" y="248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 14"/>
          <p:cNvSpPr>
            <a:spLocks/>
          </p:cNvSpPr>
          <p:nvPr/>
        </p:nvSpPr>
        <p:spPr bwMode="auto">
          <a:xfrm>
            <a:off x="2194531" y="5391789"/>
            <a:ext cx="511197" cy="254253"/>
          </a:xfrm>
          <a:custGeom>
            <a:avLst/>
            <a:gdLst>
              <a:gd name="T0" fmla="*/ 0 w 380"/>
              <a:gd name="T1" fmla="*/ 189 h 189"/>
              <a:gd name="T2" fmla="*/ 380 w 380"/>
              <a:gd name="T3" fmla="*/ 189 h 189"/>
              <a:gd name="T4" fmla="*/ 191 w 380"/>
              <a:gd name="T5" fmla="*/ 0 h 189"/>
              <a:gd name="T6" fmla="*/ 0 w 380"/>
              <a:gd name="T7" fmla="*/ 189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0" h="189">
                <a:moveTo>
                  <a:pt x="0" y="189"/>
                </a:moveTo>
                <a:lnTo>
                  <a:pt x="380" y="189"/>
                </a:lnTo>
                <a:lnTo>
                  <a:pt x="191" y="0"/>
                </a:lnTo>
                <a:lnTo>
                  <a:pt x="0" y="189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Freeform 15"/>
          <p:cNvSpPr>
            <a:spLocks/>
          </p:cNvSpPr>
          <p:nvPr/>
        </p:nvSpPr>
        <p:spPr bwMode="auto">
          <a:xfrm>
            <a:off x="2006195" y="5480575"/>
            <a:ext cx="333624" cy="165467"/>
          </a:xfrm>
          <a:custGeom>
            <a:avLst/>
            <a:gdLst>
              <a:gd name="T0" fmla="*/ 0 w 248"/>
              <a:gd name="T1" fmla="*/ 123 h 123"/>
              <a:gd name="T2" fmla="*/ 248 w 248"/>
              <a:gd name="T3" fmla="*/ 123 h 123"/>
              <a:gd name="T4" fmla="*/ 125 w 248"/>
              <a:gd name="T5" fmla="*/ 0 h 123"/>
              <a:gd name="T6" fmla="*/ 0 w 248"/>
              <a:gd name="T7" fmla="*/ 123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8" h="123">
                <a:moveTo>
                  <a:pt x="0" y="123"/>
                </a:moveTo>
                <a:lnTo>
                  <a:pt x="248" y="123"/>
                </a:lnTo>
                <a:lnTo>
                  <a:pt x="125" y="0"/>
                </a:lnTo>
                <a:lnTo>
                  <a:pt x="0" y="123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Freeform 16"/>
          <p:cNvSpPr>
            <a:spLocks/>
          </p:cNvSpPr>
          <p:nvPr/>
        </p:nvSpPr>
        <p:spPr bwMode="auto">
          <a:xfrm>
            <a:off x="225076" y="5442908"/>
            <a:ext cx="414339" cy="203134"/>
          </a:xfrm>
          <a:custGeom>
            <a:avLst/>
            <a:gdLst>
              <a:gd name="T0" fmla="*/ 308 w 308"/>
              <a:gd name="T1" fmla="*/ 151 h 151"/>
              <a:gd name="T2" fmla="*/ 0 w 308"/>
              <a:gd name="T3" fmla="*/ 151 h 151"/>
              <a:gd name="T4" fmla="*/ 154 w 308"/>
              <a:gd name="T5" fmla="*/ 0 h 151"/>
              <a:gd name="T6" fmla="*/ 308 w 308"/>
              <a:gd name="T7" fmla="*/ 151 h 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8" h="151">
                <a:moveTo>
                  <a:pt x="308" y="151"/>
                </a:moveTo>
                <a:lnTo>
                  <a:pt x="0" y="151"/>
                </a:lnTo>
                <a:lnTo>
                  <a:pt x="154" y="0"/>
                </a:lnTo>
                <a:lnTo>
                  <a:pt x="308" y="151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Freeform 18"/>
          <p:cNvSpPr>
            <a:spLocks/>
          </p:cNvSpPr>
          <p:nvPr/>
        </p:nvSpPr>
        <p:spPr bwMode="auto">
          <a:xfrm>
            <a:off x="3176568" y="5140226"/>
            <a:ext cx="1021050" cy="505816"/>
          </a:xfrm>
          <a:custGeom>
            <a:avLst/>
            <a:gdLst>
              <a:gd name="T0" fmla="*/ 0 w 759"/>
              <a:gd name="T1" fmla="*/ 376 h 376"/>
              <a:gd name="T2" fmla="*/ 759 w 759"/>
              <a:gd name="T3" fmla="*/ 376 h 376"/>
              <a:gd name="T4" fmla="*/ 381 w 759"/>
              <a:gd name="T5" fmla="*/ 0 h 376"/>
              <a:gd name="T6" fmla="*/ 0 w 759"/>
              <a:gd name="T7" fmla="*/ 376 h 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59" h="376">
                <a:moveTo>
                  <a:pt x="0" y="376"/>
                </a:moveTo>
                <a:lnTo>
                  <a:pt x="759" y="376"/>
                </a:lnTo>
                <a:lnTo>
                  <a:pt x="381" y="0"/>
                </a:lnTo>
                <a:lnTo>
                  <a:pt x="0" y="376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Freeform 19"/>
          <p:cNvSpPr>
            <a:spLocks/>
          </p:cNvSpPr>
          <p:nvPr/>
        </p:nvSpPr>
        <p:spPr bwMode="auto">
          <a:xfrm>
            <a:off x="11113581" y="4793149"/>
            <a:ext cx="1717892" cy="852893"/>
          </a:xfrm>
          <a:custGeom>
            <a:avLst/>
            <a:gdLst>
              <a:gd name="T0" fmla="*/ 0 w 1277"/>
              <a:gd name="T1" fmla="*/ 634 h 634"/>
              <a:gd name="T2" fmla="*/ 1277 w 1277"/>
              <a:gd name="T3" fmla="*/ 634 h 634"/>
              <a:gd name="T4" fmla="*/ 641 w 1277"/>
              <a:gd name="T5" fmla="*/ 0 h 634"/>
              <a:gd name="T6" fmla="*/ 0 w 1277"/>
              <a:gd name="T7" fmla="*/ 634 h 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77" h="634">
                <a:moveTo>
                  <a:pt x="0" y="634"/>
                </a:moveTo>
                <a:lnTo>
                  <a:pt x="1277" y="634"/>
                </a:lnTo>
                <a:lnTo>
                  <a:pt x="641" y="0"/>
                </a:lnTo>
                <a:lnTo>
                  <a:pt x="0" y="634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Freeform 20"/>
          <p:cNvSpPr>
            <a:spLocks/>
          </p:cNvSpPr>
          <p:nvPr/>
        </p:nvSpPr>
        <p:spPr bwMode="auto">
          <a:xfrm>
            <a:off x="8525308" y="2818313"/>
            <a:ext cx="235420" cy="207169"/>
          </a:xfrm>
          <a:custGeom>
            <a:avLst/>
            <a:gdLst>
              <a:gd name="T0" fmla="*/ 175 w 175"/>
              <a:gd name="T1" fmla="*/ 154 h 154"/>
              <a:gd name="T2" fmla="*/ 36 w 175"/>
              <a:gd name="T3" fmla="*/ 154 h 154"/>
              <a:gd name="T4" fmla="*/ 0 w 175"/>
              <a:gd name="T5" fmla="*/ 0 h 154"/>
              <a:gd name="T6" fmla="*/ 142 w 175"/>
              <a:gd name="T7" fmla="*/ 0 h 154"/>
              <a:gd name="T8" fmla="*/ 175 w 175"/>
              <a:gd name="T9" fmla="*/ 154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5" h="154">
                <a:moveTo>
                  <a:pt x="175" y="154"/>
                </a:moveTo>
                <a:lnTo>
                  <a:pt x="36" y="154"/>
                </a:lnTo>
                <a:lnTo>
                  <a:pt x="0" y="0"/>
                </a:lnTo>
                <a:lnTo>
                  <a:pt x="142" y="0"/>
                </a:lnTo>
                <a:lnTo>
                  <a:pt x="175" y="154"/>
                </a:lnTo>
                <a:close/>
              </a:path>
            </a:pathLst>
          </a:custGeom>
          <a:solidFill>
            <a:srgbClr val="1256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Freeform 21"/>
          <p:cNvSpPr>
            <a:spLocks/>
          </p:cNvSpPr>
          <p:nvPr/>
        </p:nvSpPr>
        <p:spPr bwMode="auto">
          <a:xfrm>
            <a:off x="8413652" y="4828126"/>
            <a:ext cx="248872" cy="391470"/>
          </a:xfrm>
          <a:custGeom>
            <a:avLst/>
            <a:gdLst>
              <a:gd name="T0" fmla="*/ 22 w 185"/>
              <a:gd name="T1" fmla="*/ 0 h 291"/>
              <a:gd name="T2" fmla="*/ 185 w 185"/>
              <a:gd name="T3" fmla="*/ 0 h 291"/>
              <a:gd name="T4" fmla="*/ 171 w 185"/>
              <a:gd name="T5" fmla="*/ 291 h 291"/>
              <a:gd name="T6" fmla="*/ 0 w 185"/>
              <a:gd name="T7" fmla="*/ 291 h 291"/>
              <a:gd name="T8" fmla="*/ 22 w 185"/>
              <a:gd name="T9" fmla="*/ 0 h 2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5" h="291">
                <a:moveTo>
                  <a:pt x="22" y="0"/>
                </a:moveTo>
                <a:lnTo>
                  <a:pt x="185" y="0"/>
                </a:lnTo>
                <a:lnTo>
                  <a:pt x="171" y="291"/>
                </a:lnTo>
                <a:lnTo>
                  <a:pt x="0" y="291"/>
                </a:lnTo>
                <a:lnTo>
                  <a:pt x="22" y="0"/>
                </a:lnTo>
                <a:close/>
              </a:path>
            </a:pathLst>
          </a:custGeom>
          <a:solidFill>
            <a:srgbClr val="D3D1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Freeform 22"/>
          <p:cNvSpPr>
            <a:spLocks/>
          </p:cNvSpPr>
          <p:nvPr/>
        </p:nvSpPr>
        <p:spPr bwMode="auto">
          <a:xfrm>
            <a:off x="8483605" y="3855506"/>
            <a:ext cx="232729" cy="417029"/>
          </a:xfrm>
          <a:custGeom>
            <a:avLst/>
            <a:gdLst>
              <a:gd name="T0" fmla="*/ 22 w 173"/>
              <a:gd name="T1" fmla="*/ 0 h 310"/>
              <a:gd name="T2" fmla="*/ 173 w 173"/>
              <a:gd name="T3" fmla="*/ 0 h 310"/>
              <a:gd name="T4" fmla="*/ 156 w 173"/>
              <a:gd name="T5" fmla="*/ 310 h 310"/>
              <a:gd name="T6" fmla="*/ 0 w 173"/>
              <a:gd name="T7" fmla="*/ 310 h 310"/>
              <a:gd name="T8" fmla="*/ 22 w 173"/>
              <a:gd name="T9" fmla="*/ 0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3" h="310">
                <a:moveTo>
                  <a:pt x="22" y="0"/>
                </a:moveTo>
                <a:lnTo>
                  <a:pt x="173" y="0"/>
                </a:lnTo>
                <a:lnTo>
                  <a:pt x="156" y="310"/>
                </a:lnTo>
                <a:lnTo>
                  <a:pt x="0" y="310"/>
                </a:lnTo>
                <a:lnTo>
                  <a:pt x="22" y="0"/>
                </a:lnTo>
                <a:close/>
              </a:path>
            </a:pathLst>
          </a:custGeom>
          <a:solidFill>
            <a:srgbClr val="D3D1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Freeform 23"/>
          <p:cNvSpPr>
            <a:spLocks/>
          </p:cNvSpPr>
          <p:nvPr/>
        </p:nvSpPr>
        <p:spPr bwMode="auto">
          <a:xfrm>
            <a:off x="8553558" y="3025483"/>
            <a:ext cx="207169" cy="273087"/>
          </a:xfrm>
          <a:custGeom>
            <a:avLst/>
            <a:gdLst>
              <a:gd name="T0" fmla="*/ 154 w 154"/>
              <a:gd name="T1" fmla="*/ 0 h 203"/>
              <a:gd name="T2" fmla="*/ 142 w 154"/>
              <a:gd name="T3" fmla="*/ 203 h 203"/>
              <a:gd name="T4" fmla="*/ 0 w 154"/>
              <a:gd name="T5" fmla="*/ 203 h 203"/>
              <a:gd name="T6" fmla="*/ 15 w 154"/>
              <a:gd name="T7" fmla="*/ 0 h 203"/>
              <a:gd name="T8" fmla="*/ 154 w 154"/>
              <a:gd name="T9" fmla="*/ 0 h 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4" h="203">
                <a:moveTo>
                  <a:pt x="154" y="0"/>
                </a:moveTo>
                <a:lnTo>
                  <a:pt x="142" y="203"/>
                </a:lnTo>
                <a:lnTo>
                  <a:pt x="0" y="203"/>
                </a:lnTo>
                <a:lnTo>
                  <a:pt x="15" y="0"/>
                </a:lnTo>
                <a:lnTo>
                  <a:pt x="154" y="0"/>
                </a:lnTo>
                <a:close/>
              </a:path>
            </a:pathLst>
          </a:custGeom>
          <a:solidFill>
            <a:srgbClr val="D3D1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Freeform 24"/>
          <p:cNvSpPr>
            <a:spLocks/>
          </p:cNvSpPr>
          <p:nvPr/>
        </p:nvSpPr>
        <p:spPr bwMode="auto">
          <a:xfrm>
            <a:off x="8693465" y="3855506"/>
            <a:ext cx="474875" cy="417029"/>
          </a:xfrm>
          <a:custGeom>
            <a:avLst/>
            <a:gdLst>
              <a:gd name="T0" fmla="*/ 353 w 353"/>
              <a:gd name="T1" fmla="*/ 310 h 310"/>
              <a:gd name="T2" fmla="*/ 0 w 353"/>
              <a:gd name="T3" fmla="*/ 310 h 310"/>
              <a:gd name="T4" fmla="*/ 17 w 353"/>
              <a:gd name="T5" fmla="*/ 0 h 310"/>
              <a:gd name="T6" fmla="*/ 336 w 353"/>
              <a:gd name="T7" fmla="*/ 0 h 310"/>
              <a:gd name="T8" fmla="*/ 353 w 353"/>
              <a:gd name="T9" fmla="*/ 310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53" h="310">
                <a:moveTo>
                  <a:pt x="353" y="310"/>
                </a:moveTo>
                <a:lnTo>
                  <a:pt x="0" y="310"/>
                </a:lnTo>
                <a:lnTo>
                  <a:pt x="17" y="0"/>
                </a:lnTo>
                <a:lnTo>
                  <a:pt x="336" y="0"/>
                </a:lnTo>
                <a:lnTo>
                  <a:pt x="353" y="310"/>
                </a:lnTo>
                <a:close/>
              </a:path>
            </a:pathLst>
          </a:custGeom>
          <a:solidFill>
            <a:srgbClr val="EEE9E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Freeform 25"/>
          <p:cNvSpPr>
            <a:spLocks/>
          </p:cNvSpPr>
          <p:nvPr/>
        </p:nvSpPr>
        <p:spPr bwMode="auto">
          <a:xfrm>
            <a:off x="8643690" y="4828126"/>
            <a:ext cx="574424" cy="391470"/>
          </a:xfrm>
          <a:custGeom>
            <a:avLst/>
            <a:gdLst>
              <a:gd name="T0" fmla="*/ 427 w 427"/>
              <a:gd name="T1" fmla="*/ 291 h 291"/>
              <a:gd name="T2" fmla="*/ 0 w 427"/>
              <a:gd name="T3" fmla="*/ 291 h 291"/>
              <a:gd name="T4" fmla="*/ 14 w 427"/>
              <a:gd name="T5" fmla="*/ 0 h 291"/>
              <a:gd name="T6" fmla="*/ 411 w 427"/>
              <a:gd name="T7" fmla="*/ 0 h 291"/>
              <a:gd name="T8" fmla="*/ 427 w 427"/>
              <a:gd name="T9" fmla="*/ 291 h 2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27" h="291">
                <a:moveTo>
                  <a:pt x="427" y="291"/>
                </a:moveTo>
                <a:lnTo>
                  <a:pt x="0" y="291"/>
                </a:lnTo>
                <a:lnTo>
                  <a:pt x="14" y="0"/>
                </a:lnTo>
                <a:lnTo>
                  <a:pt x="411" y="0"/>
                </a:lnTo>
                <a:lnTo>
                  <a:pt x="427" y="291"/>
                </a:lnTo>
                <a:close/>
              </a:path>
            </a:pathLst>
          </a:custGeom>
          <a:solidFill>
            <a:srgbClr val="EEE9E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Rectangle 26"/>
          <p:cNvSpPr>
            <a:spLocks noChangeArrowheads="1"/>
          </p:cNvSpPr>
          <p:nvPr/>
        </p:nvSpPr>
        <p:spPr bwMode="auto">
          <a:xfrm>
            <a:off x="8614095" y="2716074"/>
            <a:ext cx="629580" cy="41703"/>
          </a:xfrm>
          <a:prstGeom prst="rect">
            <a:avLst/>
          </a:prstGeom>
          <a:solidFill>
            <a:srgbClr val="EEE9E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Rectangle 27"/>
          <p:cNvSpPr>
            <a:spLocks noChangeArrowheads="1"/>
          </p:cNvSpPr>
          <p:nvPr/>
        </p:nvSpPr>
        <p:spPr bwMode="auto">
          <a:xfrm>
            <a:off x="8739204" y="2570786"/>
            <a:ext cx="380708" cy="145288"/>
          </a:xfrm>
          <a:prstGeom prst="rect">
            <a:avLst/>
          </a:prstGeom>
          <a:solidFill>
            <a:srgbClr val="12214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Freeform 28"/>
          <p:cNvSpPr>
            <a:spLocks/>
          </p:cNvSpPr>
          <p:nvPr/>
        </p:nvSpPr>
        <p:spPr bwMode="auto">
          <a:xfrm>
            <a:off x="8513200" y="3298570"/>
            <a:ext cx="231384" cy="556936"/>
          </a:xfrm>
          <a:custGeom>
            <a:avLst/>
            <a:gdLst>
              <a:gd name="T0" fmla="*/ 172 w 172"/>
              <a:gd name="T1" fmla="*/ 0 h 414"/>
              <a:gd name="T2" fmla="*/ 151 w 172"/>
              <a:gd name="T3" fmla="*/ 414 h 414"/>
              <a:gd name="T4" fmla="*/ 0 w 172"/>
              <a:gd name="T5" fmla="*/ 414 h 414"/>
              <a:gd name="T6" fmla="*/ 30 w 172"/>
              <a:gd name="T7" fmla="*/ 0 h 414"/>
              <a:gd name="T8" fmla="*/ 172 w 172"/>
              <a:gd name="T9" fmla="*/ 0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2" h="414">
                <a:moveTo>
                  <a:pt x="172" y="0"/>
                </a:moveTo>
                <a:lnTo>
                  <a:pt x="151" y="414"/>
                </a:lnTo>
                <a:lnTo>
                  <a:pt x="0" y="414"/>
                </a:lnTo>
                <a:lnTo>
                  <a:pt x="30" y="0"/>
                </a:lnTo>
                <a:lnTo>
                  <a:pt x="172" y="0"/>
                </a:lnTo>
                <a:close/>
              </a:path>
            </a:pathLst>
          </a:custGeom>
          <a:gradFill flip="none" rotWithShape="1">
            <a:gsLst>
              <a:gs pos="100000">
                <a:srgbClr val="F8716A"/>
              </a:gs>
              <a:gs pos="40000">
                <a:srgbClr val="F6443B"/>
              </a:gs>
            </a:gsLst>
            <a:lin ang="27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Freeform 29"/>
          <p:cNvSpPr>
            <a:spLocks/>
          </p:cNvSpPr>
          <p:nvPr/>
        </p:nvSpPr>
        <p:spPr bwMode="auto">
          <a:xfrm>
            <a:off x="8662524" y="4272535"/>
            <a:ext cx="534067" cy="555591"/>
          </a:xfrm>
          <a:custGeom>
            <a:avLst/>
            <a:gdLst>
              <a:gd name="T0" fmla="*/ 397 w 397"/>
              <a:gd name="T1" fmla="*/ 413 h 413"/>
              <a:gd name="T2" fmla="*/ 0 w 397"/>
              <a:gd name="T3" fmla="*/ 413 h 413"/>
              <a:gd name="T4" fmla="*/ 23 w 397"/>
              <a:gd name="T5" fmla="*/ 0 h 413"/>
              <a:gd name="T6" fmla="*/ 376 w 397"/>
              <a:gd name="T7" fmla="*/ 0 h 413"/>
              <a:gd name="T8" fmla="*/ 397 w 397"/>
              <a:gd name="T9" fmla="*/ 413 h 4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97" h="413">
                <a:moveTo>
                  <a:pt x="397" y="413"/>
                </a:moveTo>
                <a:lnTo>
                  <a:pt x="0" y="413"/>
                </a:lnTo>
                <a:lnTo>
                  <a:pt x="23" y="0"/>
                </a:lnTo>
                <a:lnTo>
                  <a:pt x="376" y="0"/>
                </a:lnTo>
                <a:lnTo>
                  <a:pt x="397" y="413"/>
                </a:lnTo>
                <a:close/>
              </a:path>
            </a:pathLst>
          </a:custGeom>
          <a:gradFill flip="none" rotWithShape="1">
            <a:gsLst>
              <a:gs pos="100000">
                <a:srgbClr val="F8716A"/>
              </a:gs>
              <a:gs pos="32000">
                <a:srgbClr val="F6443B"/>
              </a:gs>
            </a:gsLst>
            <a:lin ang="27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Freeform 30"/>
          <p:cNvSpPr>
            <a:spLocks/>
          </p:cNvSpPr>
          <p:nvPr/>
        </p:nvSpPr>
        <p:spPr bwMode="auto">
          <a:xfrm>
            <a:off x="8443247" y="4272535"/>
            <a:ext cx="250218" cy="555591"/>
          </a:xfrm>
          <a:custGeom>
            <a:avLst/>
            <a:gdLst>
              <a:gd name="T0" fmla="*/ 186 w 186"/>
              <a:gd name="T1" fmla="*/ 0 h 413"/>
              <a:gd name="T2" fmla="*/ 163 w 186"/>
              <a:gd name="T3" fmla="*/ 413 h 413"/>
              <a:gd name="T4" fmla="*/ 0 w 186"/>
              <a:gd name="T5" fmla="*/ 413 h 413"/>
              <a:gd name="T6" fmla="*/ 30 w 186"/>
              <a:gd name="T7" fmla="*/ 0 h 413"/>
              <a:gd name="T8" fmla="*/ 186 w 186"/>
              <a:gd name="T9" fmla="*/ 0 h 4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6" h="413">
                <a:moveTo>
                  <a:pt x="186" y="0"/>
                </a:moveTo>
                <a:lnTo>
                  <a:pt x="163" y="413"/>
                </a:lnTo>
                <a:lnTo>
                  <a:pt x="0" y="413"/>
                </a:lnTo>
                <a:lnTo>
                  <a:pt x="30" y="0"/>
                </a:lnTo>
                <a:lnTo>
                  <a:pt x="186" y="0"/>
                </a:lnTo>
                <a:close/>
              </a:path>
            </a:pathLst>
          </a:custGeom>
          <a:gradFill flip="none" rotWithShape="1">
            <a:gsLst>
              <a:gs pos="83000">
                <a:srgbClr val="F8716A"/>
              </a:gs>
              <a:gs pos="13000">
                <a:srgbClr val="F6443B"/>
              </a:gs>
            </a:gsLst>
            <a:lin ang="27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Freeform 31"/>
          <p:cNvSpPr>
            <a:spLocks/>
          </p:cNvSpPr>
          <p:nvPr/>
        </p:nvSpPr>
        <p:spPr bwMode="auto">
          <a:xfrm>
            <a:off x="9098387" y="2818313"/>
            <a:ext cx="235420" cy="207169"/>
          </a:xfrm>
          <a:custGeom>
            <a:avLst/>
            <a:gdLst>
              <a:gd name="T0" fmla="*/ 0 w 175"/>
              <a:gd name="T1" fmla="*/ 154 h 154"/>
              <a:gd name="T2" fmla="*/ 141 w 175"/>
              <a:gd name="T3" fmla="*/ 154 h 154"/>
              <a:gd name="T4" fmla="*/ 175 w 175"/>
              <a:gd name="T5" fmla="*/ 0 h 154"/>
              <a:gd name="T6" fmla="*/ 35 w 175"/>
              <a:gd name="T7" fmla="*/ 0 h 154"/>
              <a:gd name="T8" fmla="*/ 0 w 175"/>
              <a:gd name="T9" fmla="*/ 154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5" h="154">
                <a:moveTo>
                  <a:pt x="0" y="154"/>
                </a:moveTo>
                <a:lnTo>
                  <a:pt x="141" y="154"/>
                </a:lnTo>
                <a:lnTo>
                  <a:pt x="175" y="0"/>
                </a:lnTo>
                <a:lnTo>
                  <a:pt x="35" y="0"/>
                </a:lnTo>
                <a:lnTo>
                  <a:pt x="0" y="154"/>
                </a:lnTo>
                <a:close/>
              </a:path>
            </a:pathLst>
          </a:custGeom>
          <a:solidFill>
            <a:srgbClr val="12214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" name="Freeform 32"/>
          <p:cNvSpPr>
            <a:spLocks/>
          </p:cNvSpPr>
          <p:nvPr/>
        </p:nvSpPr>
        <p:spPr bwMode="auto">
          <a:xfrm>
            <a:off x="9196591" y="4828126"/>
            <a:ext cx="247527" cy="391470"/>
          </a:xfrm>
          <a:custGeom>
            <a:avLst/>
            <a:gdLst>
              <a:gd name="T0" fmla="*/ 163 w 184"/>
              <a:gd name="T1" fmla="*/ 0 h 291"/>
              <a:gd name="T2" fmla="*/ 0 w 184"/>
              <a:gd name="T3" fmla="*/ 0 h 291"/>
              <a:gd name="T4" fmla="*/ 16 w 184"/>
              <a:gd name="T5" fmla="*/ 291 h 291"/>
              <a:gd name="T6" fmla="*/ 184 w 184"/>
              <a:gd name="T7" fmla="*/ 291 h 291"/>
              <a:gd name="T8" fmla="*/ 163 w 184"/>
              <a:gd name="T9" fmla="*/ 0 h 2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4" h="291">
                <a:moveTo>
                  <a:pt x="163" y="0"/>
                </a:moveTo>
                <a:lnTo>
                  <a:pt x="0" y="0"/>
                </a:lnTo>
                <a:lnTo>
                  <a:pt x="16" y="291"/>
                </a:lnTo>
                <a:lnTo>
                  <a:pt x="184" y="291"/>
                </a:lnTo>
                <a:lnTo>
                  <a:pt x="163" y="0"/>
                </a:lnTo>
                <a:close/>
              </a:path>
            </a:pathLst>
          </a:custGeom>
          <a:solidFill>
            <a:srgbClr val="91919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Freeform 33"/>
          <p:cNvSpPr>
            <a:spLocks/>
          </p:cNvSpPr>
          <p:nvPr/>
        </p:nvSpPr>
        <p:spPr bwMode="auto">
          <a:xfrm>
            <a:off x="9145471" y="3855506"/>
            <a:ext cx="232729" cy="417029"/>
          </a:xfrm>
          <a:custGeom>
            <a:avLst/>
            <a:gdLst>
              <a:gd name="T0" fmla="*/ 149 w 173"/>
              <a:gd name="T1" fmla="*/ 0 h 310"/>
              <a:gd name="T2" fmla="*/ 0 w 173"/>
              <a:gd name="T3" fmla="*/ 0 h 310"/>
              <a:gd name="T4" fmla="*/ 17 w 173"/>
              <a:gd name="T5" fmla="*/ 310 h 310"/>
              <a:gd name="T6" fmla="*/ 173 w 173"/>
              <a:gd name="T7" fmla="*/ 310 h 310"/>
              <a:gd name="T8" fmla="*/ 149 w 173"/>
              <a:gd name="T9" fmla="*/ 0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3" h="310">
                <a:moveTo>
                  <a:pt x="149" y="0"/>
                </a:moveTo>
                <a:lnTo>
                  <a:pt x="0" y="0"/>
                </a:lnTo>
                <a:lnTo>
                  <a:pt x="17" y="310"/>
                </a:lnTo>
                <a:lnTo>
                  <a:pt x="173" y="310"/>
                </a:lnTo>
                <a:lnTo>
                  <a:pt x="149" y="0"/>
                </a:lnTo>
                <a:close/>
              </a:path>
            </a:pathLst>
          </a:custGeom>
          <a:solidFill>
            <a:srgbClr val="91919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" name="Freeform 34"/>
          <p:cNvSpPr>
            <a:spLocks/>
          </p:cNvSpPr>
          <p:nvPr/>
        </p:nvSpPr>
        <p:spPr bwMode="auto">
          <a:xfrm>
            <a:off x="9098387" y="3025483"/>
            <a:ext cx="209860" cy="273087"/>
          </a:xfrm>
          <a:custGeom>
            <a:avLst/>
            <a:gdLst>
              <a:gd name="T0" fmla="*/ 0 w 156"/>
              <a:gd name="T1" fmla="*/ 0 h 203"/>
              <a:gd name="T2" fmla="*/ 11 w 156"/>
              <a:gd name="T3" fmla="*/ 203 h 203"/>
              <a:gd name="T4" fmla="*/ 156 w 156"/>
              <a:gd name="T5" fmla="*/ 203 h 203"/>
              <a:gd name="T6" fmla="*/ 141 w 156"/>
              <a:gd name="T7" fmla="*/ 0 h 203"/>
              <a:gd name="T8" fmla="*/ 0 w 156"/>
              <a:gd name="T9" fmla="*/ 0 h 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6" h="203">
                <a:moveTo>
                  <a:pt x="0" y="0"/>
                </a:moveTo>
                <a:lnTo>
                  <a:pt x="11" y="203"/>
                </a:lnTo>
                <a:lnTo>
                  <a:pt x="156" y="203"/>
                </a:lnTo>
                <a:lnTo>
                  <a:pt x="141" y="0"/>
                </a:lnTo>
                <a:lnTo>
                  <a:pt x="0" y="0"/>
                </a:lnTo>
                <a:close/>
              </a:path>
            </a:pathLst>
          </a:custGeom>
          <a:solidFill>
            <a:srgbClr val="91919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" name="Freeform 35"/>
          <p:cNvSpPr>
            <a:spLocks/>
          </p:cNvSpPr>
          <p:nvPr/>
        </p:nvSpPr>
        <p:spPr bwMode="auto">
          <a:xfrm>
            <a:off x="8716334" y="2818313"/>
            <a:ext cx="429137" cy="207169"/>
          </a:xfrm>
          <a:custGeom>
            <a:avLst/>
            <a:gdLst>
              <a:gd name="T0" fmla="*/ 158 w 319"/>
              <a:gd name="T1" fmla="*/ 0 h 154"/>
              <a:gd name="T2" fmla="*/ 0 w 319"/>
              <a:gd name="T3" fmla="*/ 0 h 154"/>
              <a:gd name="T4" fmla="*/ 33 w 319"/>
              <a:gd name="T5" fmla="*/ 154 h 154"/>
              <a:gd name="T6" fmla="*/ 158 w 319"/>
              <a:gd name="T7" fmla="*/ 154 h 154"/>
              <a:gd name="T8" fmla="*/ 284 w 319"/>
              <a:gd name="T9" fmla="*/ 154 h 154"/>
              <a:gd name="T10" fmla="*/ 319 w 319"/>
              <a:gd name="T11" fmla="*/ 0 h 154"/>
              <a:gd name="T12" fmla="*/ 158 w 319"/>
              <a:gd name="T13" fmla="*/ 0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19" h="154">
                <a:moveTo>
                  <a:pt x="158" y="0"/>
                </a:moveTo>
                <a:lnTo>
                  <a:pt x="0" y="0"/>
                </a:lnTo>
                <a:lnTo>
                  <a:pt x="33" y="154"/>
                </a:lnTo>
                <a:lnTo>
                  <a:pt x="158" y="154"/>
                </a:lnTo>
                <a:lnTo>
                  <a:pt x="284" y="154"/>
                </a:lnTo>
                <a:lnTo>
                  <a:pt x="319" y="0"/>
                </a:lnTo>
                <a:lnTo>
                  <a:pt x="158" y="0"/>
                </a:lnTo>
                <a:close/>
              </a:path>
            </a:pathLst>
          </a:custGeom>
          <a:solidFill>
            <a:srgbClr val="1256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" name="Freeform 36"/>
          <p:cNvSpPr>
            <a:spLocks/>
          </p:cNvSpPr>
          <p:nvPr/>
        </p:nvSpPr>
        <p:spPr bwMode="auto">
          <a:xfrm>
            <a:off x="8744585" y="3025483"/>
            <a:ext cx="368600" cy="273087"/>
          </a:xfrm>
          <a:custGeom>
            <a:avLst/>
            <a:gdLst>
              <a:gd name="T0" fmla="*/ 263 w 274"/>
              <a:gd name="T1" fmla="*/ 0 h 203"/>
              <a:gd name="T2" fmla="*/ 137 w 274"/>
              <a:gd name="T3" fmla="*/ 0 h 203"/>
              <a:gd name="T4" fmla="*/ 12 w 274"/>
              <a:gd name="T5" fmla="*/ 0 h 203"/>
              <a:gd name="T6" fmla="*/ 0 w 274"/>
              <a:gd name="T7" fmla="*/ 203 h 203"/>
              <a:gd name="T8" fmla="*/ 137 w 274"/>
              <a:gd name="T9" fmla="*/ 203 h 203"/>
              <a:gd name="T10" fmla="*/ 274 w 274"/>
              <a:gd name="T11" fmla="*/ 203 h 203"/>
              <a:gd name="T12" fmla="*/ 263 w 274"/>
              <a:gd name="T13" fmla="*/ 0 h 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74" h="203">
                <a:moveTo>
                  <a:pt x="263" y="0"/>
                </a:moveTo>
                <a:lnTo>
                  <a:pt x="137" y="0"/>
                </a:lnTo>
                <a:lnTo>
                  <a:pt x="12" y="0"/>
                </a:lnTo>
                <a:lnTo>
                  <a:pt x="0" y="203"/>
                </a:lnTo>
                <a:lnTo>
                  <a:pt x="137" y="203"/>
                </a:lnTo>
                <a:lnTo>
                  <a:pt x="274" y="203"/>
                </a:lnTo>
                <a:lnTo>
                  <a:pt x="263" y="0"/>
                </a:lnTo>
                <a:close/>
              </a:path>
            </a:pathLst>
          </a:custGeom>
          <a:solidFill>
            <a:srgbClr val="EEE9E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Freeform 37"/>
          <p:cNvSpPr>
            <a:spLocks/>
          </p:cNvSpPr>
          <p:nvPr/>
        </p:nvSpPr>
        <p:spPr bwMode="auto">
          <a:xfrm>
            <a:off x="8525308" y="2757777"/>
            <a:ext cx="808499" cy="60537"/>
          </a:xfrm>
          <a:custGeom>
            <a:avLst/>
            <a:gdLst>
              <a:gd name="T0" fmla="*/ 300 w 601"/>
              <a:gd name="T1" fmla="*/ 0 h 45"/>
              <a:gd name="T2" fmla="*/ 0 w 601"/>
              <a:gd name="T3" fmla="*/ 0 h 45"/>
              <a:gd name="T4" fmla="*/ 0 w 601"/>
              <a:gd name="T5" fmla="*/ 45 h 45"/>
              <a:gd name="T6" fmla="*/ 300 w 601"/>
              <a:gd name="T7" fmla="*/ 45 h 45"/>
              <a:gd name="T8" fmla="*/ 601 w 601"/>
              <a:gd name="T9" fmla="*/ 45 h 45"/>
              <a:gd name="T10" fmla="*/ 601 w 601"/>
              <a:gd name="T11" fmla="*/ 0 h 45"/>
              <a:gd name="T12" fmla="*/ 300 w 601"/>
              <a:gd name="T13" fmla="*/ 0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01" h="45">
                <a:moveTo>
                  <a:pt x="300" y="0"/>
                </a:moveTo>
                <a:lnTo>
                  <a:pt x="0" y="0"/>
                </a:lnTo>
                <a:lnTo>
                  <a:pt x="0" y="45"/>
                </a:lnTo>
                <a:lnTo>
                  <a:pt x="300" y="45"/>
                </a:lnTo>
                <a:lnTo>
                  <a:pt x="601" y="45"/>
                </a:lnTo>
                <a:lnTo>
                  <a:pt x="601" y="0"/>
                </a:lnTo>
                <a:lnTo>
                  <a:pt x="300" y="0"/>
                </a:lnTo>
                <a:close/>
              </a:path>
            </a:pathLst>
          </a:custGeom>
          <a:solidFill>
            <a:srgbClr val="12214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" name="Rectangle 38"/>
          <p:cNvSpPr>
            <a:spLocks noChangeArrowheads="1"/>
          </p:cNvSpPr>
          <p:nvPr/>
        </p:nvSpPr>
        <p:spPr bwMode="auto">
          <a:xfrm>
            <a:off x="8658488" y="2449713"/>
            <a:ext cx="347076" cy="121073"/>
          </a:xfrm>
          <a:prstGeom prst="rect">
            <a:avLst/>
          </a:prstGeom>
          <a:solidFill>
            <a:srgbClr val="EEE9E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Freeform 39"/>
          <p:cNvSpPr>
            <a:spLocks/>
          </p:cNvSpPr>
          <p:nvPr/>
        </p:nvSpPr>
        <p:spPr bwMode="auto">
          <a:xfrm>
            <a:off x="8658488" y="2179316"/>
            <a:ext cx="347076" cy="270397"/>
          </a:xfrm>
          <a:custGeom>
            <a:avLst/>
            <a:gdLst>
              <a:gd name="T0" fmla="*/ 109 w 109"/>
              <a:gd name="T1" fmla="*/ 85 h 85"/>
              <a:gd name="T2" fmla="*/ 0 w 109"/>
              <a:gd name="T3" fmla="*/ 85 h 85"/>
              <a:gd name="T4" fmla="*/ 69 w 109"/>
              <a:gd name="T5" fmla="*/ 44 h 85"/>
              <a:gd name="T6" fmla="*/ 69 w 109"/>
              <a:gd name="T7" fmla="*/ 11 h 85"/>
              <a:gd name="T8" fmla="*/ 76 w 109"/>
              <a:gd name="T9" fmla="*/ 0 h 85"/>
              <a:gd name="T10" fmla="*/ 85 w 109"/>
              <a:gd name="T11" fmla="*/ 0 h 85"/>
              <a:gd name="T12" fmla="*/ 85 w 109"/>
              <a:gd name="T13" fmla="*/ 52 h 85"/>
              <a:gd name="T14" fmla="*/ 109 w 109"/>
              <a:gd name="T15" fmla="*/ 85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09" h="85">
                <a:moveTo>
                  <a:pt x="109" y="85"/>
                </a:moveTo>
                <a:cubicBezTo>
                  <a:pt x="0" y="85"/>
                  <a:pt x="0" y="85"/>
                  <a:pt x="0" y="85"/>
                </a:cubicBezTo>
                <a:cubicBezTo>
                  <a:pt x="69" y="44"/>
                  <a:pt x="69" y="44"/>
                  <a:pt x="69" y="44"/>
                </a:cubicBezTo>
                <a:cubicBezTo>
                  <a:pt x="69" y="44"/>
                  <a:pt x="69" y="19"/>
                  <a:pt x="69" y="11"/>
                </a:cubicBezTo>
                <a:cubicBezTo>
                  <a:pt x="69" y="3"/>
                  <a:pt x="72" y="0"/>
                  <a:pt x="76" y="0"/>
                </a:cubicBezTo>
                <a:cubicBezTo>
                  <a:pt x="80" y="0"/>
                  <a:pt x="85" y="0"/>
                  <a:pt x="85" y="0"/>
                </a:cubicBezTo>
                <a:cubicBezTo>
                  <a:pt x="85" y="52"/>
                  <a:pt x="85" y="52"/>
                  <a:pt x="85" y="52"/>
                </a:cubicBezTo>
                <a:lnTo>
                  <a:pt x="109" y="85"/>
                </a:lnTo>
                <a:close/>
              </a:path>
            </a:pathLst>
          </a:custGeom>
          <a:solidFill>
            <a:srgbClr val="F6443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" name="Freeform 40"/>
          <p:cNvSpPr>
            <a:spLocks/>
          </p:cNvSpPr>
          <p:nvPr/>
        </p:nvSpPr>
        <p:spPr bwMode="auto">
          <a:xfrm>
            <a:off x="9113185" y="3298570"/>
            <a:ext cx="232729" cy="556936"/>
          </a:xfrm>
          <a:custGeom>
            <a:avLst/>
            <a:gdLst>
              <a:gd name="T0" fmla="*/ 0 w 173"/>
              <a:gd name="T1" fmla="*/ 0 h 414"/>
              <a:gd name="T2" fmla="*/ 24 w 173"/>
              <a:gd name="T3" fmla="*/ 414 h 414"/>
              <a:gd name="T4" fmla="*/ 173 w 173"/>
              <a:gd name="T5" fmla="*/ 414 h 414"/>
              <a:gd name="T6" fmla="*/ 145 w 173"/>
              <a:gd name="T7" fmla="*/ 0 h 414"/>
              <a:gd name="T8" fmla="*/ 0 w 173"/>
              <a:gd name="T9" fmla="*/ 0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3" h="414">
                <a:moveTo>
                  <a:pt x="0" y="0"/>
                </a:moveTo>
                <a:lnTo>
                  <a:pt x="24" y="414"/>
                </a:lnTo>
                <a:lnTo>
                  <a:pt x="173" y="414"/>
                </a:lnTo>
                <a:lnTo>
                  <a:pt x="145" y="0"/>
                </a:lnTo>
                <a:lnTo>
                  <a:pt x="0" y="0"/>
                </a:lnTo>
                <a:close/>
              </a:path>
            </a:pathLst>
          </a:custGeom>
          <a:solidFill>
            <a:srgbClr val="8E1F1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Freeform 41"/>
          <p:cNvSpPr>
            <a:spLocks/>
          </p:cNvSpPr>
          <p:nvPr/>
        </p:nvSpPr>
        <p:spPr bwMode="auto">
          <a:xfrm>
            <a:off x="8716334" y="3298570"/>
            <a:ext cx="429137" cy="556936"/>
          </a:xfrm>
          <a:custGeom>
            <a:avLst/>
            <a:gdLst>
              <a:gd name="T0" fmla="*/ 295 w 319"/>
              <a:gd name="T1" fmla="*/ 0 h 414"/>
              <a:gd name="T2" fmla="*/ 158 w 319"/>
              <a:gd name="T3" fmla="*/ 0 h 414"/>
              <a:gd name="T4" fmla="*/ 21 w 319"/>
              <a:gd name="T5" fmla="*/ 0 h 414"/>
              <a:gd name="T6" fmla="*/ 0 w 319"/>
              <a:gd name="T7" fmla="*/ 414 h 414"/>
              <a:gd name="T8" fmla="*/ 158 w 319"/>
              <a:gd name="T9" fmla="*/ 414 h 414"/>
              <a:gd name="T10" fmla="*/ 319 w 319"/>
              <a:gd name="T11" fmla="*/ 414 h 414"/>
              <a:gd name="T12" fmla="*/ 295 w 319"/>
              <a:gd name="T13" fmla="*/ 0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19" h="414">
                <a:moveTo>
                  <a:pt x="295" y="0"/>
                </a:moveTo>
                <a:lnTo>
                  <a:pt x="158" y="0"/>
                </a:lnTo>
                <a:lnTo>
                  <a:pt x="21" y="0"/>
                </a:lnTo>
                <a:lnTo>
                  <a:pt x="0" y="414"/>
                </a:lnTo>
                <a:lnTo>
                  <a:pt x="158" y="414"/>
                </a:lnTo>
                <a:lnTo>
                  <a:pt x="319" y="414"/>
                </a:lnTo>
                <a:lnTo>
                  <a:pt x="295" y="0"/>
                </a:lnTo>
                <a:close/>
              </a:path>
            </a:pathLst>
          </a:custGeom>
          <a:gradFill flip="none" rotWithShape="1">
            <a:gsLst>
              <a:gs pos="100000">
                <a:srgbClr val="F8716A"/>
              </a:gs>
              <a:gs pos="38000">
                <a:srgbClr val="F6443B"/>
              </a:gs>
            </a:gsLst>
            <a:lin ang="27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4" name="Freeform 42"/>
          <p:cNvSpPr>
            <a:spLocks/>
          </p:cNvSpPr>
          <p:nvPr/>
        </p:nvSpPr>
        <p:spPr bwMode="auto">
          <a:xfrm>
            <a:off x="9168340" y="4272535"/>
            <a:ext cx="247527" cy="555591"/>
          </a:xfrm>
          <a:custGeom>
            <a:avLst/>
            <a:gdLst>
              <a:gd name="T0" fmla="*/ 0 w 184"/>
              <a:gd name="T1" fmla="*/ 0 h 413"/>
              <a:gd name="T2" fmla="*/ 21 w 184"/>
              <a:gd name="T3" fmla="*/ 413 h 413"/>
              <a:gd name="T4" fmla="*/ 184 w 184"/>
              <a:gd name="T5" fmla="*/ 413 h 413"/>
              <a:gd name="T6" fmla="*/ 156 w 184"/>
              <a:gd name="T7" fmla="*/ 0 h 413"/>
              <a:gd name="T8" fmla="*/ 0 w 184"/>
              <a:gd name="T9" fmla="*/ 0 h 4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4" h="413">
                <a:moveTo>
                  <a:pt x="0" y="0"/>
                </a:moveTo>
                <a:lnTo>
                  <a:pt x="21" y="413"/>
                </a:lnTo>
                <a:lnTo>
                  <a:pt x="184" y="413"/>
                </a:lnTo>
                <a:lnTo>
                  <a:pt x="156" y="0"/>
                </a:lnTo>
                <a:lnTo>
                  <a:pt x="0" y="0"/>
                </a:lnTo>
                <a:close/>
              </a:path>
            </a:pathLst>
          </a:custGeom>
          <a:solidFill>
            <a:srgbClr val="8E1F1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Rectangle 43"/>
          <p:cNvSpPr>
            <a:spLocks noChangeArrowheads="1"/>
          </p:cNvSpPr>
          <p:nvPr/>
        </p:nvSpPr>
        <p:spPr bwMode="auto">
          <a:xfrm>
            <a:off x="8798395" y="2570786"/>
            <a:ext cx="260980" cy="145288"/>
          </a:xfrm>
          <a:prstGeom prst="rect">
            <a:avLst/>
          </a:prstGeom>
          <a:solidFill>
            <a:srgbClr val="1256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" name="Rectangle 44"/>
          <p:cNvSpPr>
            <a:spLocks noChangeArrowheads="1"/>
          </p:cNvSpPr>
          <p:nvPr/>
        </p:nvSpPr>
        <p:spPr bwMode="auto">
          <a:xfrm>
            <a:off x="9005564" y="2449713"/>
            <a:ext cx="197753" cy="121073"/>
          </a:xfrm>
          <a:prstGeom prst="rect">
            <a:avLst/>
          </a:prstGeom>
          <a:solidFill>
            <a:srgbClr val="91919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" name="Freeform 45"/>
          <p:cNvSpPr>
            <a:spLocks/>
          </p:cNvSpPr>
          <p:nvPr/>
        </p:nvSpPr>
        <p:spPr bwMode="auto">
          <a:xfrm>
            <a:off x="8928885" y="2179316"/>
            <a:ext cx="274432" cy="270397"/>
          </a:xfrm>
          <a:custGeom>
            <a:avLst/>
            <a:gdLst>
              <a:gd name="T0" fmla="*/ 86 w 86"/>
              <a:gd name="T1" fmla="*/ 85 h 85"/>
              <a:gd name="T2" fmla="*/ 24 w 86"/>
              <a:gd name="T3" fmla="*/ 85 h 85"/>
              <a:gd name="T4" fmla="*/ 0 w 86"/>
              <a:gd name="T5" fmla="*/ 52 h 85"/>
              <a:gd name="T6" fmla="*/ 0 w 86"/>
              <a:gd name="T7" fmla="*/ 0 h 85"/>
              <a:gd name="T8" fmla="*/ 9 w 86"/>
              <a:gd name="T9" fmla="*/ 0 h 85"/>
              <a:gd name="T10" fmla="*/ 17 w 86"/>
              <a:gd name="T11" fmla="*/ 11 h 85"/>
              <a:gd name="T12" fmla="*/ 17 w 86"/>
              <a:gd name="T13" fmla="*/ 44 h 85"/>
              <a:gd name="T14" fmla="*/ 86 w 86"/>
              <a:gd name="T15" fmla="*/ 85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6" h="85">
                <a:moveTo>
                  <a:pt x="86" y="85"/>
                </a:moveTo>
                <a:cubicBezTo>
                  <a:pt x="24" y="85"/>
                  <a:pt x="24" y="85"/>
                  <a:pt x="24" y="85"/>
                </a:cubicBezTo>
                <a:cubicBezTo>
                  <a:pt x="0" y="52"/>
                  <a:pt x="0" y="52"/>
                  <a:pt x="0" y="52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5" y="0"/>
                  <a:pt x="9" y="0"/>
                </a:cubicBezTo>
                <a:cubicBezTo>
                  <a:pt x="13" y="0"/>
                  <a:pt x="17" y="3"/>
                  <a:pt x="17" y="11"/>
                </a:cubicBezTo>
                <a:cubicBezTo>
                  <a:pt x="17" y="19"/>
                  <a:pt x="17" y="44"/>
                  <a:pt x="17" y="44"/>
                </a:cubicBezTo>
                <a:lnTo>
                  <a:pt x="86" y="85"/>
                </a:lnTo>
                <a:close/>
              </a:path>
            </a:pathLst>
          </a:custGeom>
          <a:solidFill>
            <a:srgbClr val="8E1F1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" name="Freeform 46"/>
          <p:cNvSpPr>
            <a:spLocks/>
          </p:cNvSpPr>
          <p:nvPr/>
        </p:nvSpPr>
        <p:spPr bwMode="auto">
          <a:xfrm>
            <a:off x="5990845" y="3718290"/>
            <a:ext cx="3879719" cy="1927752"/>
          </a:xfrm>
          <a:custGeom>
            <a:avLst/>
            <a:gdLst>
              <a:gd name="T0" fmla="*/ 0 w 2884"/>
              <a:gd name="T1" fmla="*/ 1433 h 1433"/>
              <a:gd name="T2" fmla="*/ 2884 w 2884"/>
              <a:gd name="T3" fmla="*/ 1433 h 1433"/>
              <a:gd name="T4" fmla="*/ 1452 w 2884"/>
              <a:gd name="T5" fmla="*/ 0 h 1433"/>
              <a:gd name="T6" fmla="*/ 0 w 2884"/>
              <a:gd name="T7" fmla="*/ 1433 h 1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884" h="1433">
                <a:moveTo>
                  <a:pt x="0" y="1433"/>
                </a:moveTo>
                <a:lnTo>
                  <a:pt x="2884" y="1433"/>
                </a:lnTo>
                <a:lnTo>
                  <a:pt x="1452" y="0"/>
                </a:lnTo>
                <a:lnTo>
                  <a:pt x="0" y="1433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Freeform 47"/>
          <p:cNvSpPr>
            <a:spLocks/>
          </p:cNvSpPr>
          <p:nvPr/>
        </p:nvSpPr>
        <p:spPr bwMode="auto">
          <a:xfrm>
            <a:off x="8942337" y="4717815"/>
            <a:ext cx="1869906" cy="928227"/>
          </a:xfrm>
          <a:custGeom>
            <a:avLst/>
            <a:gdLst>
              <a:gd name="T0" fmla="*/ 0 w 1390"/>
              <a:gd name="T1" fmla="*/ 690 h 690"/>
              <a:gd name="T2" fmla="*/ 1390 w 1390"/>
              <a:gd name="T3" fmla="*/ 690 h 690"/>
              <a:gd name="T4" fmla="*/ 700 w 1390"/>
              <a:gd name="T5" fmla="*/ 0 h 690"/>
              <a:gd name="T6" fmla="*/ 0 w 1390"/>
              <a:gd name="T7" fmla="*/ 690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390" h="690">
                <a:moveTo>
                  <a:pt x="0" y="690"/>
                </a:moveTo>
                <a:lnTo>
                  <a:pt x="1390" y="690"/>
                </a:lnTo>
                <a:lnTo>
                  <a:pt x="700" y="0"/>
                </a:lnTo>
                <a:lnTo>
                  <a:pt x="0" y="690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" name="Rectangle 48"/>
          <p:cNvSpPr>
            <a:spLocks noChangeArrowheads="1"/>
          </p:cNvSpPr>
          <p:nvPr/>
        </p:nvSpPr>
        <p:spPr bwMode="auto">
          <a:xfrm>
            <a:off x="3110" y="5647558"/>
            <a:ext cx="12188890" cy="1210442"/>
          </a:xfrm>
          <a:prstGeom prst="rect">
            <a:avLst/>
          </a:prstGeom>
          <a:gradFill flip="none" rotWithShape="1">
            <a:gsLst>
              <a:gs pos="100000">
                <a:srgbClr val="070C1E"/>
              </a:gs>
              <a:gs pos="0">
                <a:srgbClr val="122141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Freeform 49"/>
          <p:cNvSpPr>
            <a:spLocks/>
          </p:cNvSpPr>
          <p:nvPr/>
        </p:nvSpPr>
        <p:spPr bwMode="auto">
          <a:xfrm>
            <a:off x="324625" y="5646042"/>
            <a:ext cx="1662737" cy="827333"/>
          </a:xfrm>
          <a:custGeom>
            <a:avLst/>
            <a:gdLst>
              <a:gd name="T0" fmla="*/ 0 w 1236"/>
              <a:gd name="T1" fmla="*/ 0 h 615"/>
              <a:gd name="T2" fmla="*/ 1236 w 1236"/>
              <a:gd name="T3" fmla="*/ 0 h 615"/>
              <a:gd name="T4" fmla="*/ 621 w 1236"/>
              <a:gd name="T5" fmla="*/ 615 h 615"/>
              <a:gd name="T6" fmla="*/ 0 w 1236"/>
              <a:gd name="T7" fmla="*/ 0 h 6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36" h="615">
                <a:moveTo>
                  <a:pt x="0" y="0"/>
                </a:moveTo>
                <a:lnTo>
                  <a:pt x="1236" y="0"/>
                </a:lnTo>
                <a:lnTo>
                  <a:pt x="621" y="615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10000"/>
                </a:srgbClr>
              </a:gs>
              <a:gs pos="21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" name="Freeform 50"/>
          <p:cNvSpPr>
            <a:spLocks/>
          </p:cNvSpPr>
          <p:nvPr/>
        </p:nvSpPr>
        <p:spPr bwMode="auto">
          <a:xfrm>
            <a:off x="1224601" y="5646042"/>
            <a:ext cx="2565404" cy="1275303"/>
          </a:xfrm>
          <a:custGeom>
            <a:avLst/>
            <a:gdLst>
              <a:gd name="T0" fmla="*/ 0 w 1907"/>
              <a:gd name="T1" fmla="*/ 0 h 948"/>
              <a:gd name="T2" fmla="*/ 1907 w 1907"/>
              <a:gd name="T3" fmla="*/ 0 h 948"/>
              <a:gd name="T4" fmla="*/ 962 w 1907"/>
              <a:gd name="T5" fmla="*/ 948 h 948"/>
              <a:gd name="T6" fmla="*/ 0 w 1907"/>
              <a:gd name="T7" fmla="*/ 0 h 9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07" h="948">
                <a:moveTo>
                  <a:pt x="0" y="0"/>
                </a:moveTo>
                <a:lnTo>
                  <a:pt x="1907" y="0"/>
                </a:lnTo>
                <a:lnTo>
                  <a:pt x="962" y="948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Freeform 51"/>
          <p:cNvSpPr>
            <a:spLocks/>
          </p:cNvSpPr>
          <p:nvPr/>
        </p:nvSpPr>
        <p:spPr bwMode="auto">
          <a:xfrm>
            <a:off x="4162641" y="5646042"/>
            <a:ext cx="1004907" cy="499090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" name="Freeform 52"/>
          <p:cNvSpPr>
            <a:spLocks/>
          </p:cNvSpPr>
          <p:nvPr/>
        </p:nvSpPr>
        <p:spPr bwMode="auto">
          <a:xfrm>
            <a:off x="10138270" y="5646042"/>
            <a:ext cx="1951967" cy="969930"/>
          </a:xfrm>
          <a:custGeom>
            <a:avLst/>
            <a:gdLst>
              <a:gd name="T0" fmla="*/ 0 w 1451"/>
              <a:gd name="T1" fmla="*/ 0 h 721"/>
              <a:gd name="T2" fmla="*/ 1451 w 1451"/>
              <a:gd name="T3" fmla="*/ 0 h 721"/>
              <a:gd name="T4" fmla="*/ 730 w 1451"/>
              <a:gd name="T5" fmla="*/ 721 h 721"/>
              <a:gd name="T6" fmla="*/ 0 w 1451"/>
              <a:gd name="T7" fmla="*/ 0 h 7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51" h="721">
                <a:moveTo>
                  <a:pt x="0" y="0"/>
                </a:moveTo>
                <a:lnTo>
                  <a:pt x="1451" y="0"/>
                </a:lnTo>
                <a:lnTo>
                  <a:pt x="730" y="72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4000"/>
                </a:srgbClr>
              </a:gs>
              <a:gs pos="7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" name="Freeform 53"/>
          <p:cNvSpPr>
            <a:spLocks/>
          </p:cNvSpPr>
          <p:nvPr/>
        </p:nvSpPr>
        <p:spPr bwMode="auto">
          <a:xfrm>
            <a:off x="8413652" y="5646043"/>
            <a:ext cx="1030466" cy="1478658"/>
          </a:xfrm>
          <a:custGeom>
            <a:avLst/>
            <a:gdLst>
              <a:gd name="T0" fmla="*/ 324 w 324"/>
              <a:gd name="T1" fmla="*/ 0 h 956"/>
              <a:gd name="T2" fmla="*/ 253 w 324"/>
              <a:gd name="T3" fmla="*/ 0 h 956"/>
              <a:gd name="T4" fmla="*/ 72 w 324"/>
              <a:gd name="T5" fmla="*/ 0 h 956"/>
              <a:gd name="T6" fmla="*/ 0 w 324"/>
              <a:gd name="T7" fmla="*/ 0 h 956"/>
              <a:gd name="T8" fmla="*/ 9 w 324"/>
              <a:gd name="T9" fmla="*/ 123 h 956"/>
              <a:gd name="T10" fmla="*/ 22 w 324"/>
              <a:gd name="T11" fmla="*/ 299 h 956"/>
              <a:gd name="T12" fmla="*/ 22 w 324"/>
              <a:gd name="T13" fmla="*/ 299 h 956"/>
              <a:gd name="T14" fmla="*/ 31 w 324"/>
              <a:gd name="T15" fmla="*/ 429 h 956"/>
              <a:gd name="T16" fmla="*/ 44 w 324"/>
              <a:gd name="T17" fmla="*/ 604 h 956"/>
              <a:gd name="T18" fmla="*/ 44 w 324"/>
              <a:gd name="T19" fmla="*/ 604 h 956"/>
              <a:gd name="T20" fmla="*/ 50 w 324"/>
              <a:gd name="T21" fmla="*/ 690 h 956"/>
              <a:gd name="T22" fmla="*/ 35 w 324"/>
              <a:gd name="T23" fmla="*/ 755 h 956"/>
              <a:gd name="T24" fmla="*/ 35 w 324"/>
              <a:gd name="T25" fmla="*/ 774 h 956"/>
              <a:gd name="T26" fmla="*/ 63 w 324"/>
              <a:gd name="T27" fmla="*/ 774 h 956"/>
              <a:gd name="T28" fmla="*/ 63 w 324"/>
              <a:gd name="T29" fmla="*/ 787 h 956"/>
              <a:gd name="T30" fmla="*/ 102 w 324"/>
              <a:gd name="T31" fmla="*/ 787 h 956"/>
              <a:gd name="T32" fmla="*/ 102 w 324"/>
              <a:gd name="T33" fmla="*/ 833 h 956"/>
              <a:gd name="T34" fmla="*/ 77 w 324"/>
              <a:gd name="T35" fmla="*/ 833 h 956"/>
              <a:gd name="T36" fmla="*/ 77 w 324"/>
              <a:gd name="T37" fmla="*/ 871 h 956"/>
              <a:gd name="T38" fmla="*/ 146 w 324"/>
              <a:gd name="T39" fmla="*/ 912 h 956"/>
              <a:gd name="T40" fmla="*/ 146 w 324"/>
              <a:gd name="T41" fmla="*/ 945 h 956"/>
              <a:gd name="T42" fmla="*/ 153 w 324"/>
              <a:gd name="T43" fmla="*/ 956 h 956"/>
              <a:gd name="T44" fmla="*/ 162 w 324"/>
              <a:gd name="T45" fmla="*/ 956 h 956"/>
              <a:gd name="T46" fmla="*/ 171 w 324"/>
              <a:gd name="T47" fmla="*/ 956 h 956"/>
              <a:gd name="T48" fmla="*/ 179 w 324"/>
              <a:gd name="T49" fmla="*/ 945 h 956"/>
              <a:gd name="T50" fmla="*/ 179 w 324"/>
              <a:gd name="T51" fmla="*/ 912 h 956"/>
              <a:gd name="T52" fmla="*/ 248 w 324"/>
              <a:gd name="T53" fmla="*/ 871 h 956"/>
              <a:gd name="T54" fmla="*/ 248 w 324"/>
              <a:gd name="T55" fmla="*/ 833 h 956"/>
              <a:gd name="T56" fmla="*/ 222 w 324"/>
              <a:gd name="T57" fmla="*/ 833 h 956"/>
              <a:gd name="T58" fmla="*/ 222 w 324"/>
              <a:gd name="T59" fmla="*/ 787 h 956"/>
              <a:gd name="T60" fmla="*/ 261 w 324"/>
              <a:gd name="T61" fmla="*/ 787 h 956"/>
              <a:gd name="T62" fmla="*/ 261 w 324"/>
              <a:gd name="T63" fmla="*/ 774 h 956"/>
              <a:gd name="T64" fmla="*/ 289 w 324"/>
              <a:gd name="T65" fmla="*/ 774 h 956"/>
              <a:gd name="T66" fmla="*/ 289 w 324"/>
              <a:gd name="T67" fmla="*/ 755 h 956"/>
              <a:gd name="T68" fmla="*/ 275 w 324"/>
              <a:gd name="T69" fmla="*/ 690 h 956"/>
              <a:gd name="T70" fmla="*/ 281 w 324"/>
              <a:gd name="T71" fmla="*/ 604 h 956"/>
              <a:gd name="T72" fmla="*/ 281 w 324"/>
              <a:gd name="T73" fmla="*/ 604 h 956"/>
              <a:gd name="T74" fmla="*/ 293 w 324"/>
              <a:gd name="T75" fmla="*/ 429 h 956"/>
              <a:gd name="T76" fmla="*/ 303 w 324"/>
              <a:gd name="T77" fmla="*/ 299 h 956"/>
              <a:gd name="T78" fmla="*/ 303 w 324"/>
              <a:gd name="T79" fmla="*/ 299 h 956"/>
              <a:gd name="T80" fmla="*/ 315 w 324"/>
              <a:gd name="T81" fmla="*/ 123 h 956"/>
              <a:gd name="T82" fmla="*/ 324 w 324"/>
              <a:gd name="T83" fmla="*/ 0 h 9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324" h="956">
                <a:moveTo>
                  <a:pt x="324" y="0"/>
                </a:moveTo>
                <a:cubicBezTo>
                  <a:pt x="253" y="0"/>
                  <a:pt x="253" y="0"/>
                  <a:pt x="253" y="0"/>
                </a:cubicBezTo>
                <a:cubicBezTo>
                  <a:pt x="72" y="0"/>
                  <a:pt x="72" y="0"/>
                  <a:pt x="72" y="0"/>
                </a:cubicBezTo>
                <a:cubicBezTo>
                  <a:pt x="0" y="0"/>
                  <a:pt x="0" y="0"/>
                  <a:pt x="0" y="0"/>
                </a:cubicBezTo>
                <a:cubicBezTo>
                  <a:pt x="9" y="123"/>
                  <a:pt x="9" y="123"/>
                  <a:pt x="9" y="123"/>
                </a:cubicBezTo>
                <a:cubicBezTo>
                  <a:pt x="22" y="299"/>
                  <a:pt x="22" y="299"/>
                  <a:pt x="22" y="299"/>
                </a:cubicBezTo>
                <a:cubicBezTo>
                  <a:pt x="22" y="299"/>
                  <a:pt x="22" y="299"/>
                  <a:pt x="22" y="299"/>
                </a:cubicBezTo>
                <a:cubicBezTo>
                  <a:pt x="31" y="429"/>
                  <a:pt x="31" y="429"/>
                  <a:pt x="31" y="429"/>
                </a:cubicBezTo>
                <a:cubicBezTo>
                  <a:pt x="44" y="604"/>
                  <a:pt x="44" y="604"/>
                  <a:pt x="44" y="604"/>
                </a:cubicBezTo>
                <a:cubicBezTo>
                  <a:pt x="44" y="604"/>
                  <a:pt x="44" y="604"/>
                  <a:pt x="44" y="604"/>
                </a:cubicBezTo>
                <a:cubicBezTo>
                  <a:pt x="50" y="690"/>
                  <a:pt x="50" y="690"/>
                  <a:pt x="50" y="690"/>
                </a:cubicBezTo>
                <a:cubicBezTo>
                  <a:pt x="35" y="755"/>
                  <a:pt x="35" y="755"/>
                  <a:pt x="35" y="755"/>
                </a:cubicBezTo>
                <a:cubicBezTo>
                  <a:pt x="35" y="774"/>
                  <a:pt x="35" y="774"/>
                  <a:pt x="35" y="774"/>
                </a:cubicBezTo>
                <a:cubicBezTo>
                  <a:pt x="63" y="774"/>
                  <a:pt x="63" y="774"/>
                  <a:pt x="63" y="774"/>
                </a:cubicBezTo>
                <a:cubicBezTo>
                  <a:pt x="63" y="787"/>
                  <a:pt x="63" y="787"/>
                  <a:pt x="63" y="787"/>
                </a:cubicBezTo>
                <a:cubicBezTo>
                  <a:pt x="102" y="787"/>
                  <a:pt x="102" y="787"/>
                  <a:pt x="102" y="787"/>
                </a:cubicBezTo>
                <a:cubicBezTo>
                  <a:pt x="102" y="833"/>
                  <a:pt x="102" y="833"/>
                  <a:pt x="102" y="833"/>
                </a:cubicBezTo>
                <a:cubicBezTo>
                  <a:pt x="77" y="833"/>
                  <a:pt x="77" y="833"/>
                  <a:pt x="77" y="833"/>
                </a:cubicBezTo>
                <a:cubicBezTo>
                  <a:pt x="77" y="871"/>
                  <a:pt x="77" y="871"/>
                  <a:pt x="77" y="871"/>
                </a:cubicBezTo>
                <a:cubicBezTo>
                  <a:pt x="146" y="912"/>
                  <a:pt x="146" y="912"/>
                  <a:pt x="146" y="912"/>
                </a:cubicBezTo>
                <a:cubicBezTo>
                  <a:pt x="146" y="912"/>
                  <a:pt x="146" y="937"/>
                  <a:pt x="146" y="945"/>
                </a:cubicBezTo>
                <a:cubicBezTo>
                  <a:pt x="146" y="953"/>
                  <a:pt x="149" y="956"/>
                  <a:pt x="153" y="956"/>
                </a:cubicBezTo>
                <a:cubicBezTo>
                  <a:pt x="157" y="956"/>
                  <a:pt x="162" y="956"/>
                  <a:pt x="162" y="956"/>
                </a:cubicBezTo>
                <a:cubicBezTo>
                  <a:pt x="162" y="956"/>
                  <a:pt x="167" y="956"/>
                  <a:pt x="171" y="956"/>
                </a:cubicBezTo>
                <a:cubicBezTo>
                  <a:pt x="175" y="956"/>
                  <a:pt x="179" y="953"/>
                  <a:pt x="179" y="945"/>
                </a:cubicBezTo>
                <a:cubicBezTo>
                  <a:pt x="179" y="937"/>
                  <a:pt x="179" y="912"/>
                  <a:pt x="179" y="912"/>
                </a:cubicBezTo>
                <a:cubicBezTo>
                  <a:pt x="248" y="871"/>
                  <a:pt x="248" y="871"/>
                  <a:pt x="248" y="871"/>
                </a:cubicBezTo>
                <a:cubicBezTo>
                  <a:pt x="248" y="833"/>
                  <a:pt x="248" y="833"/>
                  <a:pt x="248" y="833"/>
                </a:cubicBezTo>
                <a:cubicBezTo>
                  <a:pt x="222" y="833"/>
                  <a:pt x="222" y="833"/>
                  <a:pt x="222" y="833"/>
                </a:cubicBezTo>
                <a:cubicBezTo>
                  <a:pt x="222" y="787"/>
                  <a:pt x="222" y="787"/>
                  <a:pt x="222" y="787"/>
                </a:cubicBezTo>
                <a:cubicBezTo>
                  <a:pt x="261" y="787"/>
                  <a:pt x="261" y="787"/>
                  <a:pt x="261" y="787"/>
                </a:cubicBezTo>
                <a:cubicBezTo>
                  <a:pt x="261" y="774"/>
                  <a:pt x="261" y="774"/>
                  <a:pt x="261" y="774"/>
                </a:cubicBezTo>
                <a:cubicBezTo>
                  <a:pt x="289" y="774"/>
                  <a:pt x="289" y="774"/>
                  <a:pt x="289" y="774"/>
                </a:cubicBezTo>
                <a:cubicBezTo>
                  <a:pt x="289" y="755"/>
                  <a:pt x="289" y="755"/>
                  <a:pt x="289" y="755"/>
                </a:cubicBezTo>
                <a:cubicBezTo>
                  <a:pt x="275" y="690"/>
                  <a:pt x="275" y="690"/>
                  <a:pt x="275" y="690"/>
                </a:cubicBezTo>
                <a:cubicBezTo>
                  <a:pt x="281" y="604"/>
                  <a:pt x="281" y="604"/>
                  <a:pt x="281" y="604"/>
                </a:cubicBezTo>
                <a:cubicBezTo>
                  <a:pt x="281" y="604"/>
                  <a:pt x="281" y="604"/>
                  <a:pt x="281" y="604"/>
                </a:cubicBezTo>
                <a:cubicBezTo>
                  <a:pt x="293" y="429"/>
                  <a:pt x="293" y="429"/>
                  <a:pt x="293" y="429"/>
                </a:cubicBezTo>
                <a:cubicBezTo>
                  <a:pt x="303" y="299"/>
                  <a:pt x="303" y="299"/>
                  <a:pt x="303" y="299"/>
                </a:cubicBezTo>
                <a:cubicBezTo>
                  <a:pt x="303" y="299"/>
                  <a:pt x="303" y="299"/>
                  <a:pt x="303" y="299"/>
                </a:cubicBezTo>
                <a:cubicBezTo>
                  <a:pt x="315" y="123"/>
                  <a:pt x="315" y="123"/>
                  <a:pt x="315" y="123"/>
                </a:cubicBezTo>
                <a:lnTo>
                  <a:pt x="324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10000"/>
                </a:srgbClr>
              </a:gs>
              <a:gs pos="43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" name="Freeform 54"/>
          <p:cNvSpPr>
            <a:spLocks/>
          </p:cNvSpPr>
          <p:nvPr/>
        </p:nvSpPr>
        <p:spPr bwMode="auto">
          <a:xfrm>
            <a:off x="5450052" y="5646042"/>
            <a:ext cx="5177892" cy="1778429"/>
          </a:xfrm>
          <a:custGeom>
            <a:avLst/>
            <a:gdLst>
              <a:gd name="T0" fmla="*/ 3213 w 3849"/>
              <a:gd name="T1" fmla="*/ 636 h 1322"/>
              <a:gd name="T2" fmla="*/ 2889 w 3849"/>
              <a:gd name="T3" fmla="*/ 317 h 1322"/>
              <a:gd name="T4" fmla="*/ 1884 w 3849"/>
              <a:gd name="T5" fmla="*/ 1322 h 1322"/>
              <a:gd name="T6" fmla="*/ 863 w 3849"/>
              <a:gd name="T7" fmla="*/ 312 h 1322"/>
              <a:gd name="T8" fmla="*/ 594 w 3849"/>
              <a:gd name="T9" fmla="*/ 584 h 1322"/>
              <a:gd name="T10" fmla="*/ 0 w 3849"/>
              <a:gd name="T11" fmla="*/ 0 h 1322"/>
              <a:gd name="T12" fmla="*/ 549 w 3849"/>
              <a:gd name="T13" fmla="*/ 0 h 1322"/>
              <a:gd name="T14" fmla="*/ 1175 w 3849"/>
              <a:gd name="T15" fmla="*/ 0 h 1322"/>
              <a:gd name="T16" fmla="*/ 2570 w 3849"/>
              <a:gd name="T17" fmla="*/ 0 h 1322"/>
              <a:gd name="T18" fmla="*/ 3206 w 3849"/>
              <a:gd name="T19" fmla="*/ 0 h 1322"/>
              <a:gd name="T20" fmla="*/ 3849 w 3849"/>
              <a:gd name="T21" fmla="*/ 0 h 1322"/>
              <a:gd name="T22" fmla="*/ 3213 w 3849"/>
              <a:gd name="T23" fmla="*/ 636 h 13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849" h="1322">
                <a:moveTo>
                  <a:pt x="3213" y="636"/>
                </a:moveTo>
                <a:lnTo>
                  <a:pt x="2889" y="317"/>
                </a:lnTo>
                <a:lnTo>
                  <a:pt x="1884" y="1322"/>
                </a:lnTo>
                <a:lnTo>
                  <a:pt x="863" y="312"/>
                </a:lnTo>
                <a:lnTo>
                  <a:pt x="594" y="584"/>
                </a:lnTo>
                <a:lnTo>
                  <a:pt x="0" y="0"/>
                </a:lnTo>
                <a:lnTo>
                  <a:pt x="549" y="0"/>
                </a:lnTo>
                <a:lnTo>
                  <a:pt x="1175" y="0"/>
                </a:lnTo>
                <a:lnTo>
                  <a:pt x="2570" y="0"/>
                </a:lnTo>
                <a:lnTo>
                  <a:pt x="3206" y="0"/>
                </a:lnTo>
                <a:lnTo>
                  <a:pt x="3849" y="0"/>
                </a:lnTo>
                <a:lnTo>
                  <a:pt x="3213" y="636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4000"/>
                </a:srgbClr>
              </a:gs>
              <a:gs pos="50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" name="Freeform 55"/>
          <p:cNvSpPr>
            <a:spLocks/>
          </p:cNvSpPr>
          <p:nvPr/>
        </p:nvSpPr>
        <p:spPr bwMode="auto">
          <a:xfrm>
            <a:off x="11295191" y="5646042"/>
            <a:ext cx="1536283" cy="764106"/>
          </a:xfrm>
          <a:custGeom>
            <a:avLst/>
            <a:gdLst>
              <a:gd name="T0" fmla="*/ 0 w 1142"/>
              <a:gd name="T1" fmla="*/ 0 h 568"/>
              <a:gd name="T2" fmla="*/ 1142 w 1142"/>
              <a:gd name="T3" fmla="*/ 0 h 568"/>
              <a:gd name="T4" fmla="*/ 575 w 1142"/>
              <a:gd name="T5" fmla="*/ 568 h 568"/>
              <a:gd name="T6" fmla="*/ 0 w 1142"/>
              <a:gd name="T7" fmla="*/ 0 h 5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142" h="568">
                <a:moveTo>
                  <a:pt x="0" y="0"/>
                </a:moveTo>
                <a:lnTo>
                  <a:pt x="1142" y="0"/>
                </a:lnTo>
                <a:lnTo>
                  <a:pt x="575" y="568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4000"/>
                </a:srgbClr>
              </a:gs>
              <a:gs pos="28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" name="Freeform 56"/>
          <p:cNvSpPr>
            <a:spLocks/>
          </p:cNvSpPr>
          <p:nvPr/>
        </p:nvSpPr>
        <p:spPr bwMode="auto">
          <a:xfrm>
            <a:off x="3265355" y="5646042"/>
            <a:ext cx="839440" cy="417029"/>
          </a:xfrm>
          <a:custGeom>
            <a:avLst/>
            <a:gdLst>
              <a:gd name="T0" fmla="*/ 0 w 624"/>
              <a:gd name="T1" fmla="*/ 0 h 310"/>
              <a:gd name="T2" fmla="*/ 624 w 624"/>
              <a:gd name="T3" fmla="*/ 0 h 310"/>
              <a:gd name="T4" fmla="*/ 315 w 624"/>
              <a:gd name="T5" fmla="*/ 310 h 310"/>
              <a:gd name="T6" fmla="*/ 0 w 624"/>
              <a:gd name="T7" fmla="*/ 0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24" h="310">
                <a:moveTo>
                  <a:pt x="0" y="0"/>
                </a:moveTo>
                <a:lnTo>
                  <a:pt x="624" y="0"/>
                </a:lnTo>
                <a:lnTo>
                  <a:pt x="315" y="31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91" name="Group 90"/>
          <p:cNvGrpSpPr/>
          <p:nvPr/>
        </p:nvGrpSpPr>
        <p:grpSpPr>
          <a:xfrm>
            <a:off x="814298" y="3025483"/>
            <a:ext cx="11103746" cy="1914300"/>
            <a:chOff x="814298" y="3025483"/>
            <a:chExt cx="11103746" cy="1914300"/>
          </a:xfrm>
        </p:grpSpPr>
        <p:sp>
          <p:nvSpPr>
            <p:cNvPr id="60" name="Oval 58"/>
            <p:cNvSpPr>
              <a:spLocks noChangeArrowheads="1"/>
            </p:cNvSpPr>
            <p:nvPr/>
          </p:nvSpPr>
          <p:spPr bwMode="auto">
            <a:xfrm>
              <a:off x="3386428" y="4608849"/>
              <a:ext cx="72644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Oval 59"/>
            <p:cNvSpPr>
              <a:spLocks noChangeArrowheads="1"/>
            </p:cNvSpPr>
            <p:nvPr/>
          </p:nvSpPr>
          <p:spPr bwMode="auto">
            <a:xfrm>
              <a:off x="5030332" y="4828126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Oval 60"/>
            <p:cNvSpPr>
              <a:spLocks noChangeArrowheads="1"/>
            </p:cNvSpPr>
            <p:nvPr/>
          </p:nvSpPr>
          <p:spPr bwMode="auto">
            <a:xfrm>
              <a:off x="5415075" y="3921423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Oval 61"/>
            <p:cNvSpPr>
              <a:spLocks noChangeArrowheads="1"/>
            </p:cNvSpPr>
            <p:nvPr/>
          </p:nvSpPr>
          <p:spPr bwMode="auto">
            <a:xfrm>
              <a:off x="814298" y="4182814"/>
              <a:ext cx="72644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Oval 62"/>
            <p:cNvSpPr>
              <a:spLocks noChangeArrowheads="1"/>
            </p:cNvSpPr>
            <p:nvPr/>
          </p:nvSpPr>
          <p:spPr bwMode="auto">
            <a:xfrm>
              <a:off x="1949695" y="4214689"/>
              <a:ext cx="7533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Oval 63"/>
            <p:cNvSpPr>
              <a:spLocks noChangeArrowheads="1"/>
            </p:cNvSpPr>
            <p:nvPr/>
          </p:nvSpPr>
          <p:spPr bwMode="auto">
            <a:xfrm>
              <a:off x="3917805" y="4007520"/>
              <a:ext cx="76680" cy="73989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Oval 64"/>
            <p:cNvSpPr>
              <a:spLocks noChangeArrowheads="1"/>
            </p:cNvSpPr>
            <p:nvPr/>
          </p:nvSpPr>
          <p:spPr bwMode="auto">
            <a:xfrm>
              <a:off x="4544694" y="3260902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Oval 65"/>
            <p:cNvSpPr>
              <a:spLocks noChangeArrowheads="1"/>
            </p:cNvSpPr>
            <p:nvPr/>
          </p:nvSpPr>
          <p:spPr bwMode="auto">
            <a:xfrm>
              <a:off x="6254515" y="3396773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Oval 66"/>
            <p:cNvSpPr>
              <a:spLocks noChangeArrowheads="1"/>
            </p:cNvSpPr>
            <p:nvPr/>
          </p:nvSpPr>
          <p:spPr bwMode="auto">
            <a:xfrm>
              <a:off x="1739835" y="3260902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Oval 67"/>
            <p:cNvSpPr>
              <a:spLocks noChangeArrowheads="1"/>
            </p:cNvSpPr>
            <p:nvPr/>
          </p:nvSpPr>
          <p:spPr bwMode="auto">
            <a:xfrm>
              <a:off x="1189625" y="4272535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Oval 68"/>
            <p:cNvSpPr>
              <a:spLocks noChangeArrowheads="1"/>
            </p:cNvSpPr>
            <p:nvPr/>
          </p:nvSpPr>
          <p:spPr bwMode="auto">
            <a:xfrm>
              <a:off x="6664818" y="3816493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Oval 69"/>
            <p:cNvSpPr>
              <a:spLocks noChangeArrowheads="1"/>
            </p:cNvSpPr>
            <p:nvPr/>
          </p:nvSpPr>
          <p:spPr bwMode="auto">
            <a:xfrm>
              <a:off x="11845400" y="4214689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Oval 70"/>
            <p:cNvSpPr>
              <a:spLocks noChangeArrowheads="1"/>
            </p:cNvSpPr>
            <p:nvPr/>
          </p:nvSpPr>
          <p:spPr bwMode="auto">
            <a:xfrm>
              <a:off x="10592967" y="3603943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Oval 71"/>
            <p:cNvSpPr>
              <a:spLocks noChangeArrowheads="1"/>
            </p:cNvSpPr>
            <p:nvPr/>
          </p:nvSpPr>
          <p:spPr bwMode="auto">
            <a:xfrm>
              <a:off x="4197618" y="4867139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Oval 72"/>
            <p:cNvSpPr>
              <a:spLocks noChangeArrowheads="1"/>
            </p:cNvSpPr>
            <p:nvPr/>
          </p:nvSpPr>
          <p:spPr bwMode="auto">
            <a:xfrm>
              <a:off x="5596685" y="4643826"/>
              <a:ext cx="76680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Oval 73"/>
            <p:cNvSpPr>
              <a:spLocks noChangeArrowheads="1"/>
            </p:cNvSpPr>
            <p:nvPr/>
          </p:nvSpPr>
          <p:spPr bwMode="auto">
            <a:xfrm>
              <a:off x="2413808" y="3025483"/>
              <a:ext cx="7264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Oval 74"/>
            <p:cNvSpPr>
              <a:spLocks noChangeArrowheads="1"/>
            </p:cNvSpPr>
            <p:nvPr/>
          </p:nvSpPr>
          <p:spPr bwMode="auto">
            <a:xfrm>
              <a:off x="2887338" y="3531299"/>
              <a:ext cx="7264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75"/>
            <p:cNvSpPr>
              <a:spLocks noChangeArrowheads="1"/>
            </p:cNvSpPr>
            <p:nvPr/>
          </p:nvSpPr>
          <p:spPr bwMode="auto">
            <a:xfrm>
              <a:off x="4025425" y="4214689"/>
              <a:ext cx="76680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Oval 76"/>
            <p:cNvSpPr>
              <a:spLocks noChangeArrowheads="1"/>
            </p:cNvSpPr>
            <p:nvPr/>
          </p:nvSpPr>
          <p:spPr bwMode="auto">
            <a:xfrm>
              <a:off x="11549444" y="3846089"/>
              <a:ext cx="73989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Oval 77"/>
            <p:cNvSpPr>
              <a:spLocks noChangeArrowheads="1"/>
            </p:cNvSpPr>
            <p:nvPr/>
          </p:nvSpPr>
          <p:spPr bwMode="auto">
            <a:xfrm>
              <a:off x="6738807" y="4421859"/>
              <a:ext cx="7533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Oval 78"/>
            <p:cNvSpPr>
              <a:spLocks noChangeArrowheads="1"/>
            </p:cNvSpPr>
            <p:nvPr/>
          </p:nvSpPr>
          <p:spPr bwMode="auto">
            <a:xfrm>
              <a:off x="10812244" y="4119176"/>
              <a:ext cx="76680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Oval 79"/>
            <p:cNvSpPr>
              <a:spLocks noChangeArrowheads="1"/>
            </p:cNvSpPr>
            <p:nvPr/>
          </p:nvSpPr>
          <p:spPr bwMode="auto">
            <a:xfrm>
              <a:off x="6970191" y="3883756"/>
              <a:ext cx="73989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3" name="Group 82"/>
          <p:cNvGrpSpPr>
            <a:grpSpLocks noChangeAspect="1"/>
          </p:cNvGrpSpPr>
          <p:nvPr/>
        </p:nvGrpSpPr>
        <p:grpSpPr bwMode="auto">
          <a:xfrm>
            <a:off x="-586705" y="-37811"/>
            <a:ext cx="439738" cy="2871788"/>
            <a:chOff x="-1745" y="-199"/>
            <a:chExt cx="277" cy="1809"/>
          </a:xfrm>
        </p:grpSpPr>
        <p:sp>
          <p:nvSpPr>
            <p:cNvPr id="85" name="Oval 83"/>
            <p:cNvSpPr>
              <a:spLocks noChangeArrowheads="1"/>
            </p:cNvSpPr>
            <p:nvPr/>
          </p:nvSpPr>
          <p:spPr bwMode="auto">
            <a:xfrm>
              <a:off x="-1745" y="-199"/>
              <a:ext cx="277" cy="268"/>
            </a:xfrm>
            <a:prstGeom prst="ellipse">
              <a:avLst/>
            </a:prstGeom>
            <a:solidFill>
              <a:srgbClr val="070C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Oval 84"/>
            <p:cNvSpPr>
              <a:spLocks noChangeArrowheads="1"/>
            </p:cNvSpPr>
            <p:nvPr/>
          </p:nvSpPr>
          <p:spPr bwMode="auto">
            <a:xfrm>
              <a:off x="-1745" y="109"/>
              <a:ext cx="277" cy="268"/>
            </a:xfrm>
            <a:prstGeom prst="ellipse">
              <a:avLst/>
            </a:prstGeom>
            <a:solidFill>
              <a:srgbClr val="1221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Oval 85"/>
            <p:cNvSpPr>
              <a:spLocks noChangeArrowheads="1"/>
            </p:cNvSpPr>
            <p:nvPr/>
          </p:nvSpPr>
          <p:spPr bwMode="auto">
            <a:xfrm>
              <a:off x="-1745" y="417"/>
              <a:ext cx="277" cy="268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Oval 86"/>
            <p:cNvSpPr>
              <a:spLocks noChangeArrowheads="1"/>
            </p:cNvSpPr>
            <p:nvPr/>
          </p:nvSpPr>
          <p:spPr bwMode="auto">
            <a:xfrm>
              <a:off x="-1745" y="725"/>
              <a:ext cx="277" cy="268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Oval 87"/>
            <p:cNvSpPr>
              <a:spLocks noChangeArrowheads="1"/>
            </p:cNvSpPr>
            <p:nvPr/>
          </p:nvSpPr>
          <p:spPr bwMode="auto">
            <a:xfrm>
              <a:off x="-1745" y="1034"/>
              <a:ext cx="277" cy="268"/>
            </a:xfrm>
            <a:prstGeom prst="ellipse">
              <a:avLst/>
            </a:prstGeom>
            <a:solidFill>
              <a:srgbClr val="F644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Oval 88"/>
            <p:cNvSpPr>
              <a:spLocks noChangeArrowheads="1"/>
            </p:cNvSpPr>
            <p:nvPr/>
          </p:nvSpPr>
          <p:spPr bwMode="auto">
            <a:xfrm>
              <a:off x="-1745" y="1342"/>
              <a:ext cx="277" cy="268"/>
            </a:xfrm>
            <a:prstGeom prst="ellipse">
              <a:avLst/>
            </a:prstGeom>
            <a:solidFill>
              <a:srgbClr val="1938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9" name="Freeform 17"/>
          <p:cNvSpPr>
            <a:spLocks/>
          </p:cNvSpPr>
          <p:nvPr/>
        </p:nvSpPr>
        <p:spPr bwMode="auto">
          <a:xfrm>
            <a:off x="5193108" y="4793149"/>
            <a:ext cx="1716547" cy="852893"/>
          </a:xfrm>
          <a:custGeom>
            <a:avLst/>
            <a:gdLst>
              <a:gd name="T0" fmla="*/ 0 w 1276"/>
              <a:gd name="T1" fmla="*/ 634 h 634"/>
              <a:gd name="T2" fmla="*/ 1276 w 1276"/>
              <a:gd name="T3" fmla="*/ 634 h 634"/>
              <a:gd name="T4" fmla="*/ 640 w 1276"/>
              <a:gd name="T5" fmla="*/ 0 h 634"/>
              <a:gd name="T6" fmla="*/ 0 w 1276"/>
              <a:gd name="T7" fmla="*/ 634 h 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76" h="634">
                <a:moveTo>
                  <a:pt x="0" y="634"/>
                </a:moveTo>
                <a:lnTo>
                  <a:pt x="1276" y="634"/>
                </a:lnTo>
                <a:lnTo>
                  <a:pt x="640" y="0"/>
                </a:lnTo>
                <a:lnTo>
                  <a:pt x="0" y="634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" name="TextBox 92"/>
          <p:cNvSpPr txBox="1"/>
          <p:nvPr/>
        </p:nvSpPr>
        <p:spPr>
          <a:xfrm>
            <a:off x="725328" y="1155156"/>
            <a:ext cx="8091574" cy="120032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cy-GB" sz="72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MINI EGYPT NEWS</a:t>
            </a:r>
            <a:endParaRPr lang="en-US" sz="72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96" name="Freeform 14"/>
          <p:cNvSpPr>
            <a:spLocks/>
          </p:cNvSpPr>
          <p:nvPr/>
        </p:nvSpPr>
        <p:spPr bwMode="auto">
          <a:xfrm flipV="1">
            <a:off x="2194532" y="5646041"/>
            <a:ext cx="451444" cy="224534"/>
          </a:xfrm>
          <a:custGeom>
            <a:avLst/>
            <a:gdLst>
              <a:gd name="T0" fmla="*/ 0 w 380"/>
              <a:gd name="T1" fmla="*/ 189 h 189"/>
              <a:gd name="T2" fmla="*/ 380 w 380"/>
              <a:gd name="T3" fmla="*/ 189 h 189"/>
              <a:gd name="T4" fmla="*/ 191 w 380"/>
              <a:gd name="T5" fmla="*/ 0 h 189"/>
              <a:gd name="T6" fmla="*/ 0 w 380"/>
              <a:gd name="T7" fmla="*/ 189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0" h="189">
                <a:moveTo>
                  <a:pt x="0" y="189"/>
                </a:moveTo>
                <a:lnTo>
                  <a:pt x="380" y="189"/>
                </a:lnTo>
                <a:lnTo>
                  <a:pt x="191" y="0"/>
                </a:lnTo>
                <a:lnTo>
                  <a:pt x="0" y="189"/>
                </a:lnTo>
                <a:close/>
              </a:path>
            </a:pathLst>
          </a:custGeom>
          <a:gradFill>
            <a:gsLst>
              <a:gs pos="100000">
                <a:srgbClr val="122141"/>
              </a:gs>
              <a:gs pos="0">
                <a:srgbClr val="070C1E">
                  <a:alpha val="0"/>
                </a:srgbClr>
              </a:gs>
            </a:gsLst>
            <a:lin ang="162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Freeform 15"/>
          <p:cNvSpPr>
            <a:spLocks/>
          </p:cNvSpPr>
          <p:nvPr/>
        </p:nvSpPr>
        <p:spPr bwMode="auto">
          <a:xfrm flipV="1">
            <a:off x="2057315" y="5646040"/>
            <a:ext cx="282504" cy="140113"/>
          </a:xfrm>
          <a:custGeom>
            <a:avLst/>
            <a:gdLst>
              <a:gd name="T0" fmla="*/ 0 w 248"/>
              <a:gd name="T1" fmla="*/ 123 h 123"/>
              <a:gd name="T2" fmla="*/ 248 w 248"/>
              <a:gd name="T3" fmla="*/ 123 h 123"/>
              <a:gd name="T4" fmla="*/ 125 w 248"/>
              <a:gd name="T5" fmla="*/ 0 h 123"/>
              <a:gd name="T6" fmla="*/ 0 w 248"/>
              <a:gd name="T7" fmla="*/ 123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8" h="123">
                <a:moveTo>
                  <a:pt x="0" y="123"/>
                </a:moveTo>
                <a:lnTo>
                  <a:pt x="248" y="123"/>
                </a:lnTo>
                <a:lnTo>
                  <a:pt x="125" y="0"/>
                </a:lnTo>
                <a:lnTo>
                  <a:pt x="0" y="123"/>
                </a:lnTo>
                <a:close/>
              </a:path>
            </a:pathLst>
          </a:custGeom>
          <a:gradFill>
            <a:gsLst>
              <a:gs pos="100000">
                <a:srgbClr val="122141"/>
              </a:gs>
              <a:gs pos="0">
                <a:srgbClr val="070C1E">
                  <a:alpha val="0"/>
                </a:srgbClr>
              </a:gs>
            </a:gsLst>
            <a:lin ang="162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8" name="Freeform 15"/>
          <p:cNvSpPr>
            <a:spLocks/>
          </p:cNvSpPr>
          <p:nvPr/>
        </p:nvSpPr>
        <p:spPr bwMode="auto">
          <a:xfrm flipV="1">
            <a:off x="282921" y="5646039"/>
            <a:ext cx="345585" cy="171399"/>
          </a:xfrm>
          <a:custGeom>
            <a:avLst/>
            <a:gdLst>
              <a:gd name="T0" fmla="*/ 0 w 248"/>
              <a:gd name="T1" fmla="*/ 123 h 123"/>
              <a:gd name="T2" fmla="*/ 248 w 248"/>
              <a:gd name="T3" fmla="*/ 123 h 123"/>
              <a:gd name="T4" fmla="*/ 125 w 248"/>
              <a:gd name="T5" fmla="*/ 0 h 123"/>
              <a:gd name="T6" fmla="*/ 0 w 248"/>
              <a:gd name="T7" fmla="*/ 123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8" h="123">
                <a:moveTo>
                  <a:pt x="0" y="123"/>
                </a:moveTo>
                <a:lnTo>
                  <a:pt x="248" y="123"/>
                </a:lnTo>
                <a:lnTo>
                  <a:pt x="125" y="0"/>
                </a:lnTo>
                <a:lnTo>
                  <a:pt x="0" y="123"/>
                </a:lnTo>
                <a:close/>
              </a:path>
            </a:pathLst>
          </a:custGeom>
          <a:gradFill>
            <a:gsLst>
              <a:gs pos="100000">
                <a:srgbClr val="122141"/>
              </a:gs>
              <a:gs pos="0">
                <a:srgbClr val="070C1E">
                  <a:alpha val="0"/>
                </a:srgbClr>
              </a:gs>
            </a:gsLst>
            <a:lin ang="162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Picture 2" descr="A picture containing building, window, drawing&#10;&#10;Description automatically generated">
            <a:extLst>
              <a:ext uri="{FF2B5EF4-FFF2-40B4-BE49-F238E27FC236}">
                <a16:creationId xmlns:a16="http://schemas.microsoft.com/office/drawing/2014/main" id="{EB7CE6B6-9C76-4AC2-8C4A-FBE1D20ADFC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176558">
            <a:off x="4203473" y="1116851"/>
            <a:ext cx="651760" cy="70886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9" name="TextBox 98"/>
          <p:cNvSpPr txBox="1"/>
          <p:nvPr/>
        </p:nvSpPr>
        <p:spPr>
          <a:xfrm>
            <a:off x="725328" y="2243579"/>
            <a:ext cx="3756156" cy="52322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cy-GB" sz="2800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All in one application!</a:t>
            </a:r>
            <a:endParaRPr lang="en-US" sz="2800" dirty="0">
              <a:solidFill>
                <a:srgbClr val="B0F7F4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cxnSp>
        <p:nvCxnSpPr>
          <p:cNvPr id="101" name="Straight Connector 100"/>
          <p:cNvCxnSpPr/>
          <p:nvPr/>
        </p:nvCxnSpPr>
        <p:spPr>
          <a:xfrm>
            <a:off x="837920" y="2897477"/>
            <a:ext cx="305373" cy="0"/>
          </a:xfrm>
          <a:prstGeom prst="line">
            <a:avLst/>
          </a:prstGeom>
          <a:ln w="19050">
            <a:solidFill>
              <a:srgbClr val="B0F7F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0" name="Group 4">
            <a:extLst>
              <a:ext uri="{FF2B5EF4-FFF2-40B4-BE49-F238E27FC236}">
                <a16:creationId xmlns:a16="http://schemas.microsoft.com/office/drawing/2014/main" id="{DE5D954C-AE18-45F5-9F94-C68E48506B7A}"/>
              </a:ext>
            </a:extLst>
          </p:cNvPr>
          <p:cNvGrpSpPr>
            <a:grpSpLocks noChangeAspect="1"/>
          </p:cNvGrpSpPr>
          <p:nvPr/>
        </p:nvGrpSpPr>
        <p:grpSpPr bwMode="auto">
          <a:xfrm flipH="1">
            <a:off x="9098387" y="997139"/>
            <a:ext cx="2921862" cy="5521180"/>
            <a:chOff x="3532" y="1579"/>
            <a:chExt cx="616" cy="1164"/>
          </a:xfrm>
        </p:grpSpPr>
        <p:sp>
          <p:nvSpPr>
            <p:cNvPr id="102" name="Freeform 5">
              <a:extLst>
                <a:ext uri="{FF2B5EF4-FFF2-40B4-BE49-F238E27FC236}">
                  <a16:creationId xmlns:a16="http://schemas.microsoft.com/office/drawing/2014/main" id="{C3C36049-8C82-4ED0-969D-D4C1DEC96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2" y="1579"/>
              <a:ext cx="616" cy="1164"/>
            </a:xfrm>
            <a:custGeom>
              <a:avLst/>
              <a:gdLst>
                <a:gd name="T0" fmla="*/ 238 w 258"/>
                <a:gd name="T1" fmla="*/ 490 h 490"/>
                <a:gd name="T2" fmla="*/ 20 w 258"/>
                <a:gd name="T3" fmla="*/ 490 h 490"/>
                <a:gd name="T4" fmla="*/ 0 w 258"/>
                <a:gd name="T5" fmla="*/ 470 h 490"/>
                <a:gd name="T6" fmla="*/ 0 w 258"/>
                <a:gd name="T7" fmla="*/ 20 h 490"/>
                <a:gd name="T8" fmla="*/ 20 w 258"/>
                <a:gd name="T9" fmla="*/ 0 h 490"/>
                <a:gd name="T10" fmla="*/ 238 w 258"/>
                <a:gd name="T11" fmla="*/ 0 h 490"/>
                <a:gd name="T12" fmla="*/ 258 w 258"/>
                <a:gd name="T13" fmla="*/ 20 h 490"/>
                <a:gd name="T14" fmla="*/ 258 w 258"/>
                <a:gd name="T15" fmla="*/ 470 h 490"/>
                <a:gd name="T16" fmla="*/ 238 w 258"/>
                <a:gd name="T17" fmla="*/ 49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490">
                  <a:moveTo>
                    <a:pt x="238" y="490"/>
                  </a:moveTo>
                  <a:cubicBezTo>
                    <a:pt x="20" y="490"/>
                    <a:pt x="20" y="490"/>
                    <a:pt x="20" y="490"/>
                  </a:cubicBezTo>
                  <a:cubicBezTo>
                    <a:pt x="9" y="490"/>
                    <a:pt x="0" y="481"/>
                    <a:pt x="0" y="47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238" y="0"/>
                    <a:pt x="238" y="0"/>
                    <a:pt x="238" y="0"/>
                  </a:cubicBezTo>
                  <a:cubicBezTo>
                    <a:pt x="249" y="0"/>
                    <a:pt x="258" y="9"/>
                    <a:pt x="258" y="20"/>
                  </a:cubicBezTo>
                  <a:cubicBezTo>
                    <a:pt x="258" y="470"/>
                    <a:pt x="258" y="470"/>
                    <a:pt x="258" y="470"/>
                  </a:cubicBezTo>
                  <a:cubicBezTo>
                    <a:pt x="258" y="481"/>
                    <a:pt x="249" y="490"/>
                    <a:pt x="238" y="490"/>
                  </a:cubicBezTo>
                  <a:close/>
                </a:path>
              </a:pathLst>
            </a:custGeom>
            <a:gradFill>
              <a:gsLst>
                <a:gs pos="100000">
                  <a:srgbClr val="B0F7F4"/>
                </a:gs>
                <a:gs pos="0">
                  <a:srgbClr val="B0F7F4"/>
                </a:gs>
                <a:gs pos="5900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Rectangle 6">
              <a:extLst>
                <a:ext uri="{FF2B5EF4-FFF2-40B4-BE49-F238E27FC236}">
                  <a16:creationId xmlns:a16="http://schemas.microsoft.com/office/drawing/2014/main" id="{B672ACB5-622B-4751-93C1-DDCFF1861A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1" y="1672"/>
              <a:ext cx="556" cy="945"/>
            </a:xfrm>
            <a:prstGeom prst="rect">
              <a:avLst/>
            </a:prstGeom>
            <a:gradFill flip="none" rotWithShape="1">
              <a:gsLst>
                <a:gs pos="23000">
                  <a:srgbClr val="09192F"/>
                </a:gs>
                <a:gs pos="100000">
                  <a:srgbClr val="125680"/>
                </a:gs>
                <a:gs pos="0">
                  <a:srgbClr val="070C1E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Oval 7">
              <a:extLst>
                <a:ext uri="{FF2B5EF4-FFF2-40B4-BE49-F238E27FC236}">
                  <a16:creationId xmlns:a16="http://schemas.microsoft.com/office/drawing/2014/main" id="{ADA1EF85-7002-4A20-BC0A-FBFFB7B594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0" y="2652"/>
              <a:ext cx="61" cy="61"/>
            </a:xfrm>
            <a:prstGeom prst="ellipse">
              <a:avLst/>
            </a:prstGeom>
            <a:gradFill flip="none" rotWithShape="1">
              <a:gsLst>
                <a:gs pos="36000">
                  <a:srgbClr val="09192F"/>
                </a:gs>
                <a:gs pos="100000">
                  <a:srgbClr val="125680"/>
                </a:gs>
                <a:gs pos="0">
                  <a:srgbClr val="070C1E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8">
              <a:extLst>
                <a:ext uri="{FF2B5EF4-FFF2-40B4-BE49-F238E27FC236}">
                  <a16:creationId xmlns:a16="http://schemas.microsoft.com/office/drawing/2014/main" id="{460D4852-9A86-4E92-9F8A-F3C8F1FC4D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1" y="1624"/>
              <a:ext cx="138" cy="12"/>
            </a:xfrm>
            <a:custGeom>
              <a:avLst/>
              <a:gdLst>
                <a:gd name="T0" fmla="*/ 56 w 58"/>
                <a:gd name="T1" fmla="*/ 5 h 5"/>
                <a:gd name="T2" fmla="*/ 2 w 58"/>
                <a:gd name="T3" fmla="*/ 5 h 5"/>
                <a:gd name="T4" fmla="*/ 0 w 58"/>
                <a:gd name="T5" fmla="*/ 2 h 5"/>
                <a:gd name="T6" fmla="*/ 0 w 58"/>
                <a:gd name="T7" fmla="*/ 2 h 5"/>
                <a:gd name="T8" fmla="*/ 2 w 58"/>
                <a:gd name="T9" fmla="*/ 0 h 5"/>
                <a:gd name="T10" fmla="*/ 56 w 58"/>
                <a:gd name="T11" fmla="*/ 0 h 5"/>
                <a:gd name="T12" fmla="*/ 58 w 58"/>
                <a:gd name="T13" fmla="*/ 2 h 5"/>
                <a:gd name="T14" fmla="*/ 58 w 58"/>
                <a:gd name="T15" fmla="*/ 2 h 5"/>
                <a:gd name="T16" fmla="*/ 56 w 58"/>
                <a:gd name="T1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" h="5">
                  <a:moveTo>
                    <a:pt x="56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7" y="0"/>
                    <a:pt x="58" y="1"/>
                    <a:pt x="58" y="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8" y="4"/>
                    <a:pt x="57" y="5"/>
                    <a:pt x="56" y="5"/>
                  </a:cubicBezTo>
                  <a:close/>
                </a:path>
              </a:pathLst>
            </a:custGeom>
            <a:gradFill flip="none" rotWithShape="1">
              <a:gsLst>
                <a:gs pos="36000">
                  <a:srgbClr val="09192F"/>
                </a:gs>
                <a:gs pos="100000">
                  <a:srgbClr val="125680"/>
                </a:gs>
                <a:gs pos="0">
                  <a:srgbClr val="070C1E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06" name="Picture 105" descr="Text&#10;&#10;Description automatically generated">
            <a:extLst>
              <a:ext uri="{FF2B5EF4-FFF2-40B4-BE49-F238E27FC236}">
                <a16:creationId xmlns:a16="http://schemas.microsoft.com/office/drawing/2014/main" id="{440DD5E0-C016-44B3-B4AD-5DC9FF105D9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46" b="17374"/>
          <a:stretch/>
        </p:blipFill>
        <p:spPr>
          <a:xfrm>
            <a:off x="9222002" y="1401278"/>
            <a:ext cx="2681404" cy="4514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680331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83B8"/>
            </a:gs>
            <a:gs pos="100000">
              <a:srgbClr val="7030A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phic 2">
            <a:extLst>
              <a:ext uri="{FF2B5EF4-FFF2-40B4-BE49-F238E27FC236}">
                <a16:creationId xmlns:a16="http://schemas.microsoft.com/office/drawing/2014/main" id="{18F38126-25AF-464E-AB13-FE4602C248F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1900929"/>
            <a:ext cx="6438900" cy="495707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5CCCC2C-F9D7-422A-9F13-8625568B397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-3134" y="2440447"/>
            <a:ext cx="4349682" cy="4891278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B3E961F3-288C-457C-9BA2-C911A7DF266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537700" y="1"/>
            <a:ext cx="2654300" cy="1726584"/>
          </a:xfrm>
          <a:prstGeom prst="rect">
            <a:avLst/>
          </a:prstGeom>
        </p:spPr>
      </p:pic>
      <p:sp>
        <p:nvSpPr>
          <p:cNvPr id="7" name="Rectángulo 3">
            <a:extLst>
              <a:ext uri="{FF2B5EF4-FFF2-40B4-BE49-F238E27FC236}">
                <a16:creationId xmlns:a16="http://schemas.microsoft.com/office/drawing/2014/main" id="{33CCE3E9-AA96-47FE-8409-0E97181EC367}"/>
              </a:ext>
            </a:extLst>
          </p:cNvPr>
          <p:cNvSpPr/>
          <p:nvPr/>
        </p:nvSpPr>
        <p:spPr>
          <a:xfrm>
            <a:off x="414596" y="579040"/>
            <a:ext cx="11362808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32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l in one place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You can easily find all Egyptian news in one application from many trusted places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1" name="Rectángulo 3">
            <a:extLst>
              <a:ext uri="{FF2B5EF4-FFF2-40B4-BE49-F238E27FC236}">
                <a16:creationId xmlns:a16="http://schemas.microsoft.com/office/drawing/2014/main" id="{9A843861-CFBB-4FA6-B40A-1FA349CFC17D}"/>
              </a:ext>
            </a:extLst>
          </p:cNvPr>
          <p:cNvSpPr/>
          <p:nvPr/>
        </p:nvSpPr>
        <p:spPr>
          <a:xfrm>
            <a:off x="3446204" y="2622184"/>
            <a:ext cx="83312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We are using google API which provide us a lot of news in many fields such as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: 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C8E64120-3653-4CF0-AD4D-D234D110AFF4}"/>
              </a:ext>
            </a:extLst>
          </p:cNvPr>
          <p:cNvSpPr/>
          <p:nvPr/>
        </p:nvSpPr>
        <p:spPr>
          <a:xfrm>
            <a:off x="4450957" y="3248001"/>
            <a:ext cx="584775" cy="58477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5762FFBB-4C63-4636-A6B6-983C8CAB042E}"/>
              </a:ext>
            </a:extLst>
          </p:cNvPr>
          <p:cNvSpPr/>
          <p:nvPr/>
        </p:nvSpPr>
        <p:spPr>
          <a:xfrm>
            <a:off x="4450957" y="4301311"/>
            <a:ext cx="584775" cy="58477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Rectángulo 3">
            <a:extLst>
              <a:ext uri="{FF2B5EF4-FFF2-40B4-BE49-F238E27FC236}">
                <a16:creationId xmlns:a16="http://schemas.microsoft.com/office/drawing/2014/main" id="{7E5FF4C7-7D02-4B66-886F-64062BCE06F7}"/>
              </a:ext>
            </a:extLst>
          </p:cNvPr>
          <p:cNvSpPr/>
          <p:nvPr/>
        </p:nvSpPr>
        <p:spPr>
          <a:xfrm>
            <a:off x="5144953" y="3371871"/>
            <a:ext cx="2142465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ports</a:t>
            </a:r>
          </a:p>
        </p:txBody>
      </p:sp>
      <p:sp>
        <p:nvSpPr>
          <p:cNvPr id="44" name="Rectángulo 3">
            <a:extLst>
              <a:ext uri="{FF2B5EF4-FFF2-40B4-BE49-F238E27FC236}">
                <a16:creationId xmlns:a16="http://schemas.microsoft.com/office/drawing/2014/main" id="{A44D750B-C9EB-4F4D-A355-A79D22D68673}"/>
              </a:ext>
            </a:extLst>
          </p:cNvPr>
          <p:cNvSpPr/>
          <p:nvPr/>
        </p:nvSpPr>
        <p:spPr>
          <a:xfrm>
            <a:off x="5144953" y="4428171"/>
            <a:ext cx="2142465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cience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517FAB6B-BC75-48F2-A08A-B7E7BD8A52D3}"/>
              </a:ext>
            </a:extLst>
          </p:cNvPr>
          <p:cNvSpPr/>
          <p:nvPr/>
        </p:nvSpPr>
        <p:spPr>
          <a:xfrm>
            <a:off x="7502812" y="3248001"/>
            <a:ext cx="584775" cy="58477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801FE9B7-86C0-48A7-91BD-530CFCFE1404}"/>
              </a:ext>
            </a:extLst>
          </p:cNvPr>
          <p:cNvSpPr/>
          <p:nvPr/>
        </p:nvSpPr>
        <p:spPr>
          <a:xfrm>
            <a:off x="7502812" y="4301311"/>
            <a:ext cx="584775" cy="58477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Rectángulo 3">
            <a:extLst>
              <a:ext uri="{FF2B5EF4-FFF2-40B4-BE49-F238E27FC236}">
                <a16:creationId xmlns:a16="http://schemas.microsoft.com/office/drawing/2014/main" id="{3994F9D6-0E4F-4128-8913-B56A00FD1757}"/>
              </a:ext>
            </a:extLst>
          </p:cNvPr>
          <p:cNvSpPr/>
          <p:nvPr/>
        </p:nvSpPr>
        <p:spPr>
          <a:xfrm>
            <a:off x="8196808" y="3371871"/>
            <a:ext cx="3580596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usiness &amp; Economics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7158A6D2-136D-4B8F-AFE3-D86F5DC90932}"/>
              </a:ext>
            </a:extLst>
          </p:cNvPr>
          <p:cNvGrpSpPr/>
          <p:nvPr/>
        </p:nvGrpSpPr>
        <p:grpSpPr>
          <a:xfrm>
            <a:off x="4600469" y="3396719"/>
            <a:ext cx="285750" cy="287338"/>
            <a:chOff x="3746500" y="1344613"/>
            <a:chExt cx="285750" cy="287338"/>
          </a:xfrm>
          <a:gradFill>
            <a:gsLst>
              <a:gs pos="0">
                <a:srgbClr val="0683B8"/>
              </a:gs>
              <a:gs pos="100000">
                <a:srgbClr val="7030A0"/>
              </a:gs>
            </a:gsLst>
            <a:lin ang="18900000" scaled="1"/>
          </a:gradFill>
        </p:grpSpPr>
        <p:sp>
          <p:nvSpPr>
            <p:cNvPr id="50" name="Freeform 497">
              <a:extLst>
                <a:ext uri="{FF2B5EF4-FFF2-40B4-BE49-F238E27FC236}">
                  <a16:creationId xmlns:a16="http://schemas.microsoft.com/office/drawing/2014/main" id="{5D9E124A-189C-47A6-BCC0-E9BF869CF2A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6500" y="1344613"/>
              <a:ext cx="285750" cy="182563"/>
            </a:xfrm>
            <a:custGeom>
              <a:avLst/>
              <a:gdLst>
                <a:gd name="T0" fmla="*/ 0 w 903"/>
                <a:gd name="T1" fmla="*/ 0 h 573"/>
                <a:gd name="T2" fmla="*/ 0 w 903"/>
                <a:gd name="T3" fmla="*/ 467 h 573"/>
                <a:gd name="T4" fmla="*/ 1 w 903"/>
                <a:gd name="T5" fmla="*/ 459 h 573"/>
                <a:gd name="T6" fmla="*/ 2 w 903"/>
                <a:gd name="T7" fmla="*/ 453 h 573"/>
                <a:gd name="T8" fmla="*/ 5 w 903"/>
                <a:gd name="T9" fmla="*/ 446 h 573"/>
                <a:gd name="T10" fmla="*/ 8 w 903"/>
                <a:gd name="T11" fmla="*/ 440 h 573"/>
                <a:gd name="T12" fmla="*/ 12 w 903"/>
                <a:gd name="T13" fmla="*/ 434 h 573"/>
                <a:gd name="T14" fmla="*/ 18 w 903"/>
                <a:gd name="T15" fmla="*/ 428 h 573"/>
                <a:gd name="T16" fmla="*/ 23 w 903"/>
                <a:gd name="T17" fmla="*/ 423 h 573"/>
                <a:gd name="T18" fmla="*/ 30 w 903"/>
                <a:gd name="T19" fmla="*/ 419 h 573"/>
                <a:gd name="T20" fmla="*/ 30 w 903"/>
                <a:gd name="T21" fmla="*/ 30 h 573"/>
                <a:gd name="T22" fmla="*/ 873 w 903"/>
                <a:gd name="T23" fmla="*/ 30 h 573"/>
                <a:gd name="T24" fmla="*/ 873 w 903"/>
                <a:gd name="T25" fmla="*/ 543 h 573"/>
                <a:gd name="T26" fmla="*/ 481 w 903"/>
                <a:gd name="T27" fmla="*/ 543 h 573"/>
                <a:gd name="T28" fmla="*/ 481 w 903"/>
                <a:gd name="T29" fmla="*/ 573 h 573"/>
                <a:gd name="T30" fmla="*/ 903 w 903"/>
                <a:gd name="T31" fmla="*/ 573 h 573"/>
                <a:gd name="T32" fmla="*/ 903 w 903"/>
                <a:gd name="T33" fmla="*/ 0 h 573"/>
                <a:gd name="T34" fmla="*/ 0 w 903"/>
                <a:gd name="T35" fmla="*/ 0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03" h="573">
                  <a:moveTo>
                    <a:pt x="0" y="0"/>
                  </a:moveTo>
                  <a:lnTo>
                    <a:pt x="0" y="467"/>
                  </a:lnTo>
                  <a:lnTo>
                    <a:pt x="1" y="459"/>
                  </a:lnTo>
                  <a:lnTo>
                    <a:pt x="2" y="453"/>
                  </a:lnTo>
                  <a:lnTo>
                    <a:pt x="5" y="446"/>
                  </a:lnTo>
                  <a:lnTo>
                    <a:pt x="8" y="440"/>
                  </a:lnTo>
                  <a:lnTo>
                    <a:pt x="12" y="434"/>
                  </a:lnTo>
                  <a:lnTo>
                    <a:pt x="18" y="428"/>
                  </a:lnTo>
                  <a:lnTo>
                    <a:pt x="23" y="423"/>
                  </a:lnTo>
                  <a:lnTo>
                    <a:pt x="30" y="419"/>
                  </a:lnTo>
                  <a:lnTo>
                    <a:pt x="30" y="30"/>
                  </a:lnTo>
                  <a:lnTo>
                    <a:pt x="873" y="30"/>
                  </a:lnTo>
                  <a:lnTo>
                    <a:pt x="873" y="543"/>
                  </a:lnTo>
                  <a:lnTo>
                    <a:pt x="481" y="543"/>
                  </a:lnTo>
                  <a:lnTo>
                    <a:pt x="481" y="573"/>
                  </a:lnTo>
                  <a:lnTo>
                    <a:pt x="903" y="573"/>
                  </a:lnTo>
                  <a:lnTo>
                    <a:pt x="90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 498">
              <a:extLst>
                <a:ext uri="{FF2B5EF4-FFF2-40B4-BE49-F238E27FC236}">
                  <a16:creationId xmlns:a16="http://schemas.microsoft.com/office/drawing/2014/main" id="{A47E030D-420D-43CA-ADEC-4457216085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5075" y="1373188"/>
              <a:ext cx="228600" cy="125413"/>
            </a:xfrm>
            <a:custGeom>
              <a:avLst/>
              <a:gdLst>
                <a:gd name="T0" fmla="*/ 330 w 723"/>
                <a:gd name="T1" fmla="*/ 283 h 392"/>
                <a:gd name="T2" fmla="*/ 295 w 723"/>
                <a:gd name="T3" fmla="*/ 263 h 392"/>
                <a:gd name="T4" fmla="*/ 269 w 723"/>
                <a:gd name="T5" fmla="*/ 232 h 392"/>
                <a:gd name="T6" fmla="*/ 257 w 723"/>
                <a:gd name="T7" fmla="*/ 192 h 392"/>
                <a:gd name="T8" fmla="*/ 260 w 723"/>
                <a:gd name="T9" fmla="*/ 151 h 392"/>
                <a:gd name="T10" fmla="*/ 281 w 723"/>
                <a:gd name="T11" fmla="*/ 115 h 392"/>
                <a:gd name="T12" fmla="*/ 312 w 723"/>
                <a:gd name="T13" fmla="*/ 90 h 392"/>
                <a:gd name="T14" fmla="*/ 350 w 723"/>
                <a:gd name="T15" fmla="*/ 77 h 392"/>
                <a:gd name="T16" fmla="*/ 392 w 723"/>
                <a:gd name="T17" fmla="*/ 81 h 392"/>
                <a:gd name="T18" fmla="*/ 429 w 723"/>
                <a:gd name="T19" fmla="*/ 100 h 392"/>
                <a:gd name="T20" fmla="*/ 454 w 723"/>
                <a:gd name="T21" fmla="*/ 131 h 392"/>
                <a:gd name="T22" fmla="*/ 466 w 723"/>
                <a:gd name="T23" fmla="*/ 171 h 392"/>
                <a:gd name="T24" fmla="*/ 462 w 723"/>
                <a:gd name="T25" fmla="*/ 213 h 392"/>
                <a:gd name="T26" fmla="*/ 443 w 723"/>
                <a:gd name="T27" fmla="*/ 248 h 392"/>
                <a:gd name="T28" fmla="*/ 412 w 723"/>
                <a:gd name="T29" fmla="*/ 274 h 392"/>
                <a:gd name="T30" fmla="*/ 372 w 723"/>
                <a:gd name="T31" fmla="*/ 287 h 392"/>
                <a:gd name="T32" fmla="*/ 96 w 723"/>
                <a:gd name="T33" fmla="*/ 151 h 392"/>
                <a:gd name="T34" fmla="*/ 68 w 723"/>
                <a:gd name="T35" fmla="*/ 131 h 392"/>
                <a:gd name="T36" fmla="*/ 61 w 723"/>
                <a:gd name="T37" fmla="*/ 97 h 392"/>
                <a:gd name="T38" fmla="*/ 80 w 723"/>
                <a:gd name="T39" fmla="*/ 69 h 392"/>
                <a:gd name="T40" fmla="*/ 114 w 723"/>
                <a:gd name="T41" fmla="*/ 63 h 392"/>
                <a:gd name="T42" fmla="*/ 143 w 723"/>
                <a:gd name="T43" fmla="*/ 81 h 392"/>
                <a:gd name="T44" fmla="*/ 150 w 723"/>
                <a:gd name="T45" fmla="*/ 115 h 392"/>
                <a:gd name="T46" fmla="*/ 131 w 723"/>
                <a:gd name="T47" fmla="*/ 144 h 392"/>
                <a:gd name="T48" fmla="*/ 106 w 723"/>
                <a:gd name="T49" fmla="*/ 152 h 392"/>
                <a:gd name="T50" fmla="*/ 642 w 723"/>
                <a:gd name="T51" fmla="*/ 249 h 392"/>
                <a:gd name="T52" fmla="*/ 661 w 723"/>
                <a:gd name="T53" fmla="*/ 278 h 392"/>
                <a:gd name="T54" fmla="*/ 655 w 723"/>
                <a:gd name="T55" fmla="*/ 313 h 392"/>
                <a:gd name="T56" fmla="*/ 626 w 723"/>
                <a:gd name="T57" fmla="*/ 331 h 392"/>
                <a:gd name="T58" fmla="*/ 592 w 723"/>
                <a:gd name="T59" fmla="*/ 324 h 392"/>
                <a:gd name="T60" fmla="*/ 573 w 723"/>
                <a:gd name="T61" fmla="*/ 297 h 392"/>
                <a:gd name="T62" fmla="*/ 580 w 723"/>
                <a:gd name="T63" fmla="*/ 262 h 392"/>
                <a:gd name="T64" fmla="*/ 608 w 723"/>
                <a:gd name="T65" fmla="*/ 243 h 392"/>
                <a:gd name="T66" fmla="*/ 669 w 723"/>
                <a:gd name="T67" fmla="*/ 392 h 392"/>
                <a:gd name="T68" fmla="*/ 691 w 723"/>
                <a:gd name="T69" fmla="*/ 386 h 392"/>
                <a:gd name="T70" fmla="*/ 709 w 723"/>
                <a:gd name="T71" fmla="*/ 371 h 392"/>
                <a:gd name="T72" fmla="*/ 720 w 723"/>
                <a:gd name="T73" fmla="*/ 350 h 392"/>
                <a:gd name="T74" fmla="*/ 723 w 723"/>
                <a:gd name="T75" fmla="*/ 62 h 392"/>
                <a:gd name="T76" fmla="*/ 718 w 723"/>
                <a:gd name="T77" fmla="*/ 38 h 392"/>
                <a:gd name="T78" fmla="*/ 705 w 723"/>
                <a:gd name="T79" fmla="*/ 19 h 392"/>
                <a:gd name="T80" fmla="*/ 686 w 723"/>
                <a:gd name="T81" fmla="*/ 6 h 392"/>
                <a:gd name="T82" fmla="*/ 663 w 723"/>
                <a:gd name="T83" fmla="*/ 2 h 392"/>
                <a:gd name="T84" fmla="*/ 43 w 723"/>
                <a:gd name="T85" fmla="*/ 4 h 392"/>
                <a:gd name="T86" fmla="*/ 22 w 723"/>
                <a:gd name="T87" fmla="*/ 14 h 392"/>
                <a:gd name="T88" fmla="*/ 7 w 723"/>
                <a:gd name="T89" fmla="*/ 33 h 392"/>
                <a:gd name="T90" fmla="*/ 1 w 723"/>
                <a:gd name="T91" fmla="*/ 55 h 392"/>
                <a:gd name="T92" fmla="*/ 46 w 723"/>
                <a:gd name="T93" fmla="*/ 294 h 392"/>
                <a:gd name="T94" fmla="*/ 151 w 723"/>
                <a:gd name="T95" fmla="*/ 287 h 392"/>
                <a:gd name="T96" fmla="*/ 244 w 723"/>
                <a:gd name="T97" fmla="*/ 293 h 392"/>
                <a:gd name="T98" fmla="*/ 326 w 723"/>
                <a:gd name="T99" fmla="*/ 312 h 392"/>
                <a:gd name="T100" fmla="*/ 373 w 723"/>
                <a:gd name="T101" fmla="*/ 337 h 392"/>
                <a:gd name="T102" fmla="*/ 389 w 723"/>
                <a:gd name="T103" fmla="*/ 36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23" h="392">
                  <a:moveTo>
                    <a:pt x="361" y="287"/>
                  </a:moveTo>
                  <a:lnTo>
                    <a:pt x="350" y="287"/>
                  </a:lnTo>
                  <a:lnTo>
                    <a:pt x="341" y="285"/>
                  </a:lnTo>
                  <a:lnTo>
                    <a:pt x="330" y="283"/>
                  </a:lnTo>
                  <a:lnTo>
                    <a:pt x="320" y="278"/>
                  </a:lnTo>
                  <a:lnTo>
                    <a:pt x="312" y="274"/>
                  </a:lnTo>
                  <a:lnTo>
                    <a:pt x="302" y="269"/>
                  </a:lnTo>
                  <a:lnTo>
                    <a:pt x="295" y="263"/>
                  </a:lnTo>
                  <a:lnTo>
                    <a:pt x="287" y="256"/>
                  </a:lnTo>
                  <a:lnTo>
                    <a:pt x="281" y="248"/>
                  </a:lnTo>
                  <a:lnTo>
                    <a:pt x="274" y="241"/>
                  </a:lnTo>
                  <a:lnTo>
                    <a:pt x="269" y="232"/>
                  </a:lnTo>
                  <a:lnTo>
                    <a:pt x="265" y="223"/>
                  </a:lnTo>
                  <a:lnTo>
                    <a:pt x="260" y="213"/>
                  </a:lnTo>
                  <a:lnTo>
                    <a:pt x="258" y="203"/>
                  </a:lnTo>
                  <a:lnTo>
                    <a:pt x="257" y="192"/>
                  </a:lnTo>
                  <a:lnTo>
                    <a:pt x="256" y="182"/>
                  </a:lnTo>
                  <a:lnTo>
                    <a:pt x="257" y="171"/>
                  </a:lnTo>
                  <a:lnTo>
                    <a:pt x="258" y="160"/>
                  </a:lnTo>
                  <a:lnTo>
                    <a:pt x="260" y="151"/>
                  </a:lnTo>
                  <a:lnTo>
                    <a:pt x="265" y="141"/>
                  </a:lnTo>
                  <a:lnTo>
                    <a:pt x="269" y="131"/>
                  </a:lnTo>
                  <a:lnTo>
                    <a:pt x="274" y="123"/>
                  </a:lnTo>
                  <a:lnTo>
                    <a:pt x="281" y="115"/>
                  </a:lnTo>
                  <a:lnTo>
                    <a:pt x="287" y="108"/>
                  </a:lnTo>
                  <a:lnTo>
                    <a:pt x="295" y="100"/>
                  </a:lnTo>
                  <a:lnTo>
                    <a:pt x="302" y="95"/>
                  </a:lnTo>
                  <a:lnTo>
                    <a:pt x="312" y="90"/>
                  </a:lnTo>
                  <a:lnTo>
                    <a:pt x="320" y="84"/>
                  </a:lnTo>
                  <a:lnTo>
                    <a:pt x="330" y="81"/>
                  </a:lnTo>
                  <a:lnTo>
                    <a:pt x="341" y="79"/>
                  </a:lnTo>
                  <a:lnTo>
                    <a:pt x="350" y="77"/>
                  </a:lnTo>
                  <a:lnTo>
                    <a:pt x="361" y="77"/>
                  </a:lnTo>
                  <a:lnTo>
                    <a:pt x="372" y="77"/>
                  </a:lnTo>
                  <a:lnTo>
                    <a:pt x="383" y="79"/>
                  </a:lnTo>
                  <a:lnTo>
                    <a:pt x="392" y="81"/>
                  </a:lnTo>
                  <a:lnTo>
                    <a:pt x="403" y="84"/>
                  </a:lnTo>
                  <a:lnTo>
                    <a:pt x="412" y="90"/>
                  </a:lnTo>
                  <a:lnTo>
                    <a:pt x="420" y="95"/>
                  </a:lnTo>
                  <a:lnTo>
                    <a:pt x="429" y="100"/>
                  </a:lnTo>
                  <a:lnTo>
                    <a:pt x="436" y="108"/>
                  </a:lnTo>
                  <a:lnTo>
                    <a:pt x="443" y="115"/>
                  </a:lnTo>
                  <a:lnTo>
                    <a:pt x="449" y="123"/>
                  </a:lnTo>
                  <a:lnTo>
                    <a:pt x="454" y="131"/>
                  </a:lnTo>
                  <a:lnTo>
                    <a:pt x="459" y="141"/>
                  </a:lnTo>
                  <a:lnTo>
                    <a:pt x="462" y="151"/>
                  </a:lnTo>
                  <a:lnTo>
                    <a:pt x="465" y="160"/>
                  </a:lnTo>
                  <a:lnTo>
                    <a:pt x="466" y="171"/>
                  </a:lnTo>
                  <a:lnTo>
                    <a:pt x="467" y="182"/>
                  </a:lnTo>
                  <a:lnTo>
                    <a:pt x="466" y="192"/>
                  </a:lnTo>
                  <a:lnTo>
                    <a:pt x="465" y="203"/>
                  </a:lnTo>
                  <a:lnTo>
                    <a:pt x="462" y="213"/>
                  </a:lnTo>
                  <a:lnTo>
                    <a:pt x="459" y="223"/>
                  </a:lnTo>
                  <a:lnTo>
                    <a:pt x="454" y="232"/>
                  </a:lnTo>
                  <a:lnTo>
                    <a:pt x="449" y="241"/>
                  </a:lnTo>
                  <a:lnTo>
                    <a:pt x="443" y="248"/>
                  </a:lnTo>
                  <a:lnTo>
                    <a:pt x="436" y="256"/>
                  </a:lnTo>
                  <a:lnTo>
                    <a:pt x="429" y="263"/>
                  </a:lnTo>
                  <a:lnTo>
                    <a:pt x="420" y="269"/>
                  </a:lnTo>
                  <a:lnTo>
                    <a:pt x="412" y="274"/>
                  </a:lnTo>
                  <a:lnTo>
                    <a:pt x="403" y="278"/>
                  </a:lnTo>
                  <a:lnTo>
                    <a:pt x="392" y="283"/>
                  </a:lnTo>
                  <a:lnTo>
                    <a:pt x="383" y="285"/>
                  </a:lnTo>
                  <a:lnTo>
                    <a:pt x="372" y="287"/>
                  </a:lnTo>
                  <a:lnTo>
                    <a:pt x="361" y="287"/>
                  </a:lnTo>
                  <a:lnTo>
                    <a:pt x="361" y="287"/>
                  </a:lnTo>
                  <a:close/>
                  <a:moveTo>
                    <a:pt x="106" y="152"/>
                  </a:moveTo>
                  <a:lnTo>
                    <a:pt x="96" y="151"/>
                  </a:lnTo>
                  <a:lnTo>
                    <a:pt x="88" y="149"/>
                  </a:lnTo>
                  <a:lnTo>
                    <a:pt x="80" y="144"/>
                  </a:lnTo>
                  <a:lnTo>
                    <a:pt x="74" y="139"/>
                  </a:lnTo>
                  <a:lnTo>
                    <a:pt x="68" y="131"/>
                  </a:lnTo>
                  <a:lnTo>
                    <a:pt x="64" y="124"/>
                  </a:lnTo>
                  <a:lnTo>
                    <a:pt x="61" y="115"/>
                  </a:lnTo>
                  <a:lnTo>
                    <a:pt x="61" y="107"/>
                  </a:lnTo>
                  <a:lnTo>
                    <a:pt x="61" y="97"/>
                  </a:lnTo>
                  <a:lnTo>
                    <a:pt x="64" y="88"/>
                  </a:lnTo>
                  <a:lnTo>
                    <a:pt x="68" y="81"/>
                  </a:lnTo>
                  <a:lnTo>
                    <a:pt x="74" y="74"/>
                  </a:lnTo>
                  <a:lnTo>
                    <a:pt x="80" y="69"/>
                  </a:lnTo>
                  <a:lnTo>
                    <a:pt x="88" y="65"/>
                  </a:lnTo>
                  <a:lnTo>
                    <a:pt x="96" y="63"/>
                  </a:lnTo>
                  <a:lnTo>
                    <a:pt x="106" y="62"/>
                  </a:lnTo>
                  <a:lnTo>
                    <a:pt x="114" y="63"/>
                  </a:lnTo>
                  <a:lnTo>
                    <a:pt x="123" y="65"/>
                  </a:lnTo>
                  <a:lnTo>
                    <a:pt x="131" y="69"/>
                  </a:lnTo>
                  <a:lnTo>
                    <a:pt x="137" y="74"/>
                  </a:lnTo>
                  <a:lnTo>
                    <a:pt x="143" y="81"/>
                  </a:lnTo>
                  <a:lnTo>
                    <a:pt x="147" y="88"/>
                  </a:lnTo>
                  <a:lnTo>
                    <a:pt x="150" y="97"/>
                  </a:lnTo>
                  <a:lnTo>
                    <a:pt x="151" y="107"/>
                  </a:lnTo>
                  <a:lnTo>
                    <a:pt x="150" y="115"/>
                  </a:lnTo>
                  <a:lnTo>
                    <a:pt x="148" y="124"/>
                  </a:lnTo>
                  <a:lnTo>
                    <a:pt x="143" y="131"/>
                  </a:lnTo>
                  <a:lnTo>
                    <a:pt x="137" y="139"/>
                  </a:lnTo>
                  <a:lnTo>
                    <a:pt x="131" y="144"/>
                  </a:lnTo>
                  <a:lnTo>
                    <a:pt x="123" y="149"/>
                  </a:lnTo>
                  <a:lnTo>
                    <a:pt x="114" y="151"/>
                  </a:lnTo>
                  <a:lnTo>
                    <a:pt x="106" y="152"/>
                  </a:lnTo>
                  <a:lnTo>
                    <a:pt x="106" y="152"/>
                  </a:lnTo>
                  <a:close/>
                  <a:moveTo>
                    <a:pt x="617" y="242"/>
                  </a:moveTo>
                  <a:lnTo>
                    <a:pt x="626" y="243"/>
                  </a:lnTo>
                  <a:lnTo>
                    <a:pt x="635" y="245"/>
                  </a:lnTo>
                  <a:lnTo>
                    <a:pt x="642" y="249"/>
                  </a:lnTo>
                  <a:lnTo>
                    <a:pt x="650" y="255"/>
                  </a:lnTo>
                  <a:lnTo>
                    <a:pt x="655" y="262"/>
                  </a:lnTo>
                  <a:lnTo>
                    <a:pt x="659" y="270"/>
                  </a:lnTo>
                  <a:lnTo>
                    <a:pt x="661" y="278"/>
                  </a:lnTo>
                  <a:lnTo>
                    <a:pt x="663" y="287"/>
                  </a:lnTo>
                  <a:lnTo>
                    <a:pt x="661" y="297"/>
                  </a:lnTo>
                  <a:lnTo>
                    <a:pt x="659" y="305"/>
                  </a:lnTo>
                  <a:lnTo>
                    <a:pt x="655" y="313"/>
                  </a:lnTo>
                  <a:lnTo>
                    <a:pt x="650" y="319"/>
                  </a:lnTo>
                  <a:lnTo>
                    <a:pt x="642" y="324"/>
                  </a:lnTo>
                  <a:lnTo>
                    <a:pt x="635" y="329"/>
                  </a:lnTo>
                  <a:lnTo>
                    <a:pt x="626" y="331"/>
                  </a:lnTo>
                  <a:lnTo>
                    <a:pt x="617" y="332"/>
                  </a:lnTo>
                  <a:lnTo>
                    <a:pt x="608" y="331"/>
                  </a:lnTo>
                  <a:lnTo>
                    <a:pt x="600" y="329"/>
                  </a:lnTo>
                  <a:lnTo>
                    <a:pt x="592" y="324"/>
                  </a:lnTo>
                  <a:lnTo>
                    <a:pt x="585" y="319"/>
                  </a:lnTo>
                  <a:lnTo>
                    <a:pt x="580" y="313"/>
                  </a:lnTo>
                  <a:lnTo>
                    <a:pt x="576" y="305"/>
                  </a:lnTo>
                  <a:lnTo>
                    <a:pt x="573" y="297"/>
                  </a:lnTo>
                  <a:lnTo>
                    <a:pt x="572" y="287"/>
                  </a:lnTo>
                  <a:lnTo>
                    <a:pt x="573" y="278"/>
                  </a:lnTo>
                  <a:lnTo>
                    <a:pt x="576" y="270"/>
                  </a:lnTo>
                  <a:lnTo>
                    <a:pt x="580" y="262"/>
                  </a:lnTo>
                  <a:lnTo>
                    <a:pt x="585" y="255"/>
                  </a:lnTo>
                  <a:lnTo>
                    <a:pt x="592" y="249"/>
                  </a:lnTo>
                  <a:lnTo>
                    <a:pt x="600" y="245"/>
                  </a:lnTo>
                  <a:lnTo>
                    <a:pt x="608" y="243"/>
                  </a:lnTo>
                  <a:lnTo>
                    <a:pt x="617" y="242"/>
                  </a:lnTo>
                  <a:close/>
                  <a:moveTo>
                    <a:pt x="391" y="392"/>
                  </a:moveTo>
                  <a:lnTo>
                    <a:pt x="663" y="392"/>
                  </a:lnTo>
                  <a:lnTo>
                    <a:pt x="669" y="392"/>
                  </a:lnTo>
                  <a:lnTo>
                    <a:pt x="674" y="391"/>
                  </a:lnTo>
                  <a:lnTo>
                    <a:pt x="681" y="390"/>
                  </a:lnTo>
                  <a:lnTo>
                    <a:pt x="686" y="388"/>
                  </a:lnTo>
                  <a:lnTo>
                    <a:pt x="691" y="386"/>
                  </a:lnTo>
                  <a:lnTo>
                    <a:pt x="697" y="382"/>
                  </a:lnTo>
                  <a:lnTo>
                    <a:pt x="701" y="379"/>
                  </a:lnTo>
                  <a:lnTo>
                    <a:pt x="705" y="375"/>
                  </a:lnTo>
                  <a:lnTo>
                    <a:pt x="709" y="371"/>
                  </a:lnTo>
                  <a:lnTo>
                    <a:pt x="713" y="366"/>
                  </a:lnTo>
                  <a:lnTo>
                    <a:pt x="715" y="361"/>
                  </a:lnTo>
                  <a:lnTo>
                    <a:pt x="718" y="356"/>
                  </a:lnTo>
                  <a:lnTo>
                    <a:pt x="720" y="350"/>
                  </a:lnTo>
                  <a:lnTo>
                    <a:pt x="721" y="345"/>
                  </a:lnTo>
                  <a:lnTo>
                    <a:pt x="723" y="338"/>
                  </a:lnTo>
                  <a:lnTo>
                    <a:pt x="723" y="332"/>
                  </a:lnTo>
                  <a:lnTo>
                    <a:pt x="723" y="62"/>
                  </a:lnTo>
                  <a:lnTo>
                    <a:pt x="723" y="55"/>
                  </a:lnTo>
                  <a:lnTo>
                    <a:pt x="721" y="49"/>
                  </a:lnTo>
                  <a:lnTo>
                    <a:pt x="720" y="43"/>
                  </a:lnTo>
                  <a:lnTo>
                    <a:pt x="718" y="38"/>
                  </a:lnTo>
                  <a:lnTo>
                    <a:pt x="715" y="33"/>
                  </a:lnTo>
                  <a:lnTo>
                    <a:pt x="713" y="27"/>
                  </a:lnTo>
                  <a:lnTo>
                    <a:pt x="709" y="23"/>
                  </a:lnTo>
                  <a:lnTo>
                    <a:pt x="705" y="19"/>
                  </a:lnTo>
                  <a:lnTo>
                    <a:pt x="701" y="14"/>
                  </a:lnTo>
                  <a:lnTo>
                    <a:pt x="697" y="11"/>
                  </a:lnTo>
                  <a:lnTo>
                    <a:pt x="691" y="8"/>
                  </a:lnTo>
                  <a:lnTo>
                    <a:pt x="686" y="6"/>
                  </a:lnTo>
                  <a:lnTo>
                    <a:pt x="681" y="4"/>
                  </a:lnTo>
                  <a:lnTo>
                    <a:pt x="674" y="3"/>
                  </a:lnTo>
                  <a:lnTo>
                    <a:pt x="669" y="2"/>
                  </a:lnTo>
                  <a:lnTo>
                    <a:pt x="663" y="2"/>
                  </a:lnTo>
                  <a:lnTo>
                    <a:pt x="61" y="0"/>
                  </a:lnTo>
                  <a:lnTo>
                    <a:pt x="54" y="2"/>
                  </a:lnTo>
                  <a:lnTo>
                    <a:pt x="48" y="3"/>
                  </a:lnTo>
                  <a:lnTo>
                    <a:pt x="43" y="4"/>
                  </a:lnTo>
                  <a:lnTo>
                    <a:pt x="37" y="6"/>
                  </a:lnTo>
                  <a:lnTo>
                    <a:pt x="32" y="8"/>
                  </a:lnTo>
                  <a:lnTo>
                    <a:pt x="27" y="11"/>
                  </a:lnTo>
                  <a:lnTo>
                    <a:pt x="22" y="14"/>
                  </a:lnTo>
                  <a:lnTo>
                    <a:pt x="18" y="19"/>
                  </a:lnTo>
                  <a:lnTo>
                    <a:pt x="14" y="23"/>
                  </a:lnTo>
                  <a:lnTo>
                    <a:pt x="10" y="27"/>
                  </a:lnTo>
                  <a:lnTo>
                    <a:pt x="7" y="33"/>
                  </a:lnTo>
                  <a:lnTo>
                    <a:pt x="5" y="38"/>
                  </a:lnTo>
                  <a:lnTo>
                    <a:pt x="3" y="43"/>
                  </a:lnTo>
                  <a:lnTo>
                    <a:pt x="2" y="49"/>
                  </a:lnTo>
                  <a:lnTo>
                    <a:pt x="1" y="55"/>
                  </a:lnTo>
                  <a:lnTo>
                    <a:pt x="0" y="62"/>
                  </a:lnTo>
                  <a:lnTo>
                    <a:pt x="0" y="304"/>
                  </a:lnTo>
                  <a:lnTo>
                    <a:pt x="22" y="299"/>
                  </a:lnTo>
                  <a:lnTo>
                    <a:pt x="46" y="294"/>
                  </a:lnTo>
                  <a:lnTo>
                    <a:pt x="68" y="291"/>
                  </a:lnTo>
                  <a:lnTo>
                    <a:pt x="90" y="290"/>
                  </a:lnTo>
                  <a:lnTo>
                    <a:pt x="126" y="288"/>
                  </a:lnTo>
                  <a:lnTo>
                    <a:pt x="151" y="287"/>
                  </a:lnTo>
                  <a:lnTo>
                    <a:pt x="172" y="288"/>
                  </a:lnTo>
                  <a:lnTo>
                    <a:pt x="206" y="289"/>
                  </a:lnTo>
                  <a:lnTo>
                    <a:pt x="225" y="291"/>
                  </a:lnTo>
                  <a:lnTo>
                    <a:pt x="244" y="293"/>
                  </a:lnTo>
                  <a:lnTo>
                    <a:pt x="266" y="297"/>
                  </a:lnTo>
                  <a:lnTo>
                    <a:pt x="286" y="300"/>
                  </a:lnTo>
                  <a:lnTo>
                    <a:pt x="306" y="305"/>
                  </a:lnTo>
                  <a:lnTo>
                    <a:pt x="326" y="312"/>
                  </a:lnTo>
                  <a:lnTo>
                    <a:pt x="344" y="318"/>
                  </a:lnTo>
                  <a:lnTo>
                    <a:pt x="360" y="327"/>
                  </a:lnTo>
                  <a:lnTo>
                    <a:pt x="366" y="332"/>
                  </a:lnTo>
                  <a:lnTo>
                    <a:pt x="373" y="337"/>
                  </a:lnTo>
                  <a:lnTo>
                    <a:pt x="378" y="343"/>
                  </a:lnTo>
                  <a:lnTo>
                    <a:pt x="383" y="349"/>
                  </a:lnTo>
                  <a:lnTo>
                    <a:pt x="387" y="356"/>
                  </a:lnTo>
                  <a:lnTo>
                    <a:pt x="389" y="362"/>
                  </a:lnTo>
                  <a:lnTo>
                    <a:pt x="391" y="369"/>
                  </a:lnTo>
                  <a:lnTo>
                    <a:pt x="391" y="377"/>
                  </a:lnTo>
                  <a:lnTo>
                    <a:pt x="391" y="3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 499">
              <a:extLst>
                <a:ext uri="{FF2B5EF4-FFF2-40B4-BE49-F238E27FC236}">
                  <a16:creationId xmlns:a16="http://schemas.microsoft.com/office/drawing/2014/main" id="{B411F2F2-5598-477F-9137-E80DD9F9BD7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98613"/>
              <a:ext cx="133350" cy="33338"/>
            </a:xfrm>
            <a:custGeom>
              <a:avLst/>
              <a:gdLst>
                <a:gd name="T0" fmla="*/ 0 w 421"/>
                <a:gd name="T1" fmla="*/ 44 h 104"/>
                <a:gd name="T2" fmla="*/ 2 w 421"/>
                <a:gd name="T3" fmla="*/ 52 h 104"/>
                <a:gd name="T4" fmla="*/ 5 w 421"/>
                <a:gd name="T5" fmla="*/ 56 h 104"/>
                <a:gd name="T6" fmla="*/ 6 w 421"/>
                <a:gd name="T7" fmla="*/ 59 h 104"/>
                <a:gd name="T8" fmla="*/ 11 w 421"/>
                <a:gd name="T9" fmla="*/ 65 h 104"/>
                <a:gd name="T10" fmla="*/ 13 w 421"/>
                <a:gd name="T11" fmla="*/ 65 h 104"/>
                <a:gd name="T12" fmla="*/ 31 w 421"/>
                <a:gd name="T13" fmla="*/ 76 h 104"/>
                <a:gd name="T14" fmla="*/ 32 w 421"/>
                <a:gd name="T15" fmla="*/ 77 h 104"/>
                <a:gd name="T16" fmla="*/ 41 w 421"/>
                <a:gd name="T17" fmla="*/ 80 h 104"/>
                <a:gd name="T18" fmla="*/ 45 w 421"/>
                <a:gd name="T19" fmla="*/ 81 h 104"/>
                <a:gd name="T20" fmla="*/ 53 w 421"/>
                <a:gd name="T21" fmla="*/ 84 h 104"/>
                <a:gd name="T22" fmla="*/ 61 w 421"/>
                <a:gd name="T23" fmla="*/ 86 h 104"/>
                <a:gd name="T24" fmla="*/ 66 w 421"/>
                <a:gd name="T25" fmla="*/ 87 h 104"/>
                <a:gd name="T26" fmla="*/ 98 w 421"/>
                <a:gd name="T27" fmla="*/ 95 h 104"/>
                <a:gd name="T28" fmla="*/ 133 w 421"/>
                <a:gd name="T29" fmla="*/ 99 h 104"/>
                <a:gd name="T30" fmla="*/ 197 w 421"/>
                <a:gd name="T31" fmla="*/ 104 h 104"/>
                <a:gd name="T32" fmla="*/ 211 w 421"/>
                <a:gd name="T33" fmla="*/ 104 h 104"/>
                <a:gd name="T34" fmla="*/ 225 w 421"/>
                <a:gd name="T35" fmla="*/ 104 h 104"/>
                <a:gd name="T36" fmla="*/ 289 w 421"/>
                <a:gd name="T37" fmla="*/ 99 h 104"/>
                <a:gd name="T38" fmla="*/ 322 w 421"/>
                <a:gd name="T39" fmla="*/ 95 h 104"/>
                <a:gd name="T40" fmla="*/ 356 w 421"/>
                <a:gd name="T41" fmla="*/ 87 h 104"/>
                <a:gd name="T42" fmla="*/ 360 w 421"/>
                <a:gd name="T43" fmla="*/ 86 h 104"/>
                <a:gd name="T44" fmla="*/ 368 w 421"/>
                <a:gd name="T45" fmla="*/ 84 h 104"/>
                <a:gd name="T46" fmla="*/ 376 w 421"/>
                <a:gd name="T47" fmla="*/ 81 h 104"/>
                <a:gd name="T48" fmla="*/ 379 w 421"/>
                <a:gd name="T49" fmla="*/ 80 h 104"/>
                <a:gd name="T50" fmla="*/ 390 w 421"/>
                <a:gd name="T51" fmla="*/ 77 h 104"/>
                <a:gd name="T52" fmla="*/ 391 w 421"/>
                <a:gd name="T53" fmla="*/ 76 h 104"/>
                <a:gd name="T54" fmla="*/ 409 w 421"/>
                <a:gd name="T55" fmla="*/ 65 h 104"/>
                <a:gd name="T56" fmla="*/ 409 w 421"/>
                <a:gd name="T57" fmla="*/ 65 h 104"/>
                <a:gd name="T58" fmla="*/ 416 w 421"/>
                <a:gd name="T59" fmla="*/ 59 h 104"/>
                <a:gd name="T60" fmla="*/ 417 w 421"/>
                <a:gd name="T61" fmla="*/ 56 h 104"/>
                <a:gd name="T62" fmla="*/ 420 w 421"/>
                <a:gd name="T63" fmla="*/ 52 h 104"/>
                <a:gd name="T64" fmla="*/ 421 w 421"/>
                <a:gd name="T65" fmla="*/ 44 h 104"/>
                <a:gd name="T66" fmla="*/ 410 w 421"/>
                <a:gd name="T67" fmla="*/ 4 h 104"/>
                <a:gd name="T68" fmla="*/ 386 w 421"/>
                <a:gd name="T69" fmla="*/ 10 h 104"/>
                <a:gd name="T70" fmla="*/ 344 w 421"/>
                <a:gd name="T71" fmla="*/ 19 h 104"/>
                <a:gd name="T72" fmla="*/ 284 w 421"/>
                <a:gd name="T73" fmla="*/ 25 h 104"/>
                <a:gd name="T74" fmla="*/ 231 w 421"/>
                <a:gd name="T75" fmla="*/ 28 h 104"/>
                <a:gd name="T76" fmla="*/ 191 w 421"/>
                <a:gd name="T77" fmla="*/ 28 h 104"/>
                <a:gd name="T78" fmla="*/ 138 w 421"/>
                <a:gd name="T79" fmla="*/ 25 h 104"/>
                <a:gd name="T80" fmla="*/ 78 w 421"/>
                <a:gd name="T81" fmla="*/ 19 h 104"/>
                <a:gd name="T82" fmla="*/ 35 w 421"/>
                <a:gd name="T83" fmla="*/ 10 h 104"/>
                <a:gd name="T84" fmla="*/ 10 w 421"/>
                <a:gd name="T85" fmla="*/ 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21" h="104">
                  <a:moveTo>
                    <a:pt x="0" y="0"/>
                  </a:moveTo>
                  <a:lnTo>
                    <a:pt x="0" y="44"/>
                  </a:lnTo>
                  <a:lnTo>
                    <a:pt x="1" y="48"/>
                  </a:lnTo>
                  <a:lnTo>
                    <a:pt x="2" y="52"/>
                  </a:lnTo>
                  <a:lnTo>
                    <a:pt x="3" y="54"/>
                  </a:lnTo>
                  <a:lnTo>
                    <a:pt x="5" y="56"/>
                  </a:lnTo>
                  <a:lnTo>
                    <a:pt x="5" y="57"/>
                  </a:lnTo>
                  <a:lnTo>
                    <a:pt x="6" y="59"/>
                  </a:lnTo>
                  <a:lnTo>
                    <a:pt x="8" y="62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3" y="65"/>
                  </a:lnTo>
                  <a:lnTo>
                    <a:pt x="20" y="70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2" y="77"/>
                  </a:lnTo>
                  <a:lnTo>
                    <a:pt x="36" y="79"/>
                  </a:lnTo>
                  <a:lnTo>
                    <a:pt x="41" y="80"/>
                  </a:lnTo>
                  <a:lnTo>
                    <a:pt x="44" y="81"/>
                  </a:lnTo>
                  <a:lnTo>
                    <a:pt x="45" y="81"/>
                  </a:lnTo>
                  <a:lnTo>
                    <a:pt x="49" y="83"/>
                  </a:lnTo>
                  <a:lnTo>
                    <a:pt x="53" y="84"/>
                  </a:lnTo>
                  <a:lnTo>
                    <a:pt x="58" y="85"/>
                  </a:lnTo>
                  <a:lnTo>
                    <a:pt x="61" y="86"/>
                  </a:lnTo>
                  <a:lnTo>
                    <a:pt x="64" y="87"/>
                  </a:lnTo>
                  <a:lnTo>
                    <a:pt x="66" y="87"/>
                  </a:lnTo>
                  <a:lnTo>
                    <a:pt x="82" y="92"/>
                  </a:lnTo>
                  <a:lnTo>
                    <a:pt x="98" y="95"/>
                  </a:lnTo>
                  <a:lnTo>
                    <a:pt x="115" y="97"/>
                  </a:lnTo>
                  <a:lnTo>
                    <a:pt x="133" y="99"/>
                  </a:lnTo>
                  <a:lnTo>
                    <a:pt x="166" y="102"/>
                  </a:lnTo>
                  <a:lnTo>
                    <a:pt x="197" y="104"/>
                  </a:lnTo>
                  <a:lnTo>
                    <a:pt x="203" y="104"/>
                  </a:lnTo>
                  <a:lnTo>
                    <a:pt x="211" y="104"/>
                  </a:lnTo>
                  <a:lnTo>
                    <a:pt x="217" y="104"/>
                  </a:lnTo>
                  <a:lnTo>
                    <a:pt x="225" y="104"/>
                  </a:lnTo>
                  <a:lnTo>
                    <a:pt x="255" y="102"/>
                  </a:lnTo>
                  <a:lnTo>
                    <a:pt x="289" y="99"/>
                  </a:lnTo>
                  <a:lnTo>
                    <a:pt x="306" y="97"/>
                  </a:lnTo>
                  <a:lnTo>
                    <a:pt x="322" y="95"/>
                  </a:lnTo>
                  <a:lnTo>
                    <a:pt x="340" y="92"/>
                  </a:lnTo>
                  <a:lnTo>
                    <a:pt x="356" y="87"/>
                  </a:lnTo>
                  <a:lnTo>
                    <a:pt x="358" y="87"/>
                  </a:lnTo>
                  <a:lnTo>
                    <a:pt x="360" y="86"/>
                  </a:lnTo>
                  <a:lnTo>
                    <a:pt x="364" y="85"/>
                  </a:lnTo>
                  <a:lnTo>
                    <a:pt x="368" y="84"/>
                  </a:lnTo>
                  <a:lnTo>
                    <a:pt x="372" y="83"/>
                  </a:lnTo>
                  <a:lnTo>
                    <a:pt x="376" y="81"/>
                  </a:lnTo>
                  <a:lnTo>
                    <a:pt x="378" y="81"/>
                  </a:lnTo>
                  <a:lnTo>
                    <a:pt x="379" y="80"/>
                  </a:lnTo>
                  <a:lnTo>
                    <a:pt x="385" y="79"/>
                  </a:lnTo>
                  <a:lnTo>
                    <a:pt x="390" y="77"/>
                  </a:lnTo>
                  <a:lnTo>
                    <a:pt x="390" y="76"/>
                  </a:lnTo>
                  <a:lnTo>
                    <a:pt x="391" y="76"/>
                  </a:lnTo>
                  <a:lnTo>
                    <a:pt x="401" y="70"/>
                  </a:lnTo>
                  <a:lnTo>
                    <a:pt x="409" y="65"/>
                  </a:lnTo>
                  <a:lnTo>
                    <a:pt x="409" y="65"/>
                  </a:lnTo>
                  <a:lnTo>
                    <a:pt x="409" y="65"/>
                  </a:lnTo>
                  <a:lnTo>
                    <a:pt x="413" y="62"/>
                  </a:lnTo>
                  <a:lnTo>
                    <a:pt x="416" y="59"/>
                  </a:lnTo>
                  <a:lnTo>
                    <a:pt x="417" y="57"/>
                  </a:lnTo>
                  <a:lnTo>
                    <a:pt x="417" y="56"/>
                  </a:lnTo>
                  <a:lnTo>
                    <a:pt x="419" y="54"/>
                  </a:lnTo>
                  <a:lnTo>
                    <a:pt x="420" y="52"/>
                  </a:lnTo>
                  <a:lnTo>
                    <a:pt x="421" y="48"/>
                  </a:lnTo>
                  <a:lnTo>
                    <a:pt x="421" y="44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7"/>
                  </a:lnTo>
                  <a:lnTo>
                    <a:pt x="386" y="10"/>
                  </a:lnTo>
                  <a:lnTo>
                    <a:pt x="373" y="13"/>
                  </a:lnTo>
                  <a:lnTo>
                    <a:pt x="344" y="19"/>
                  </a:lnTo>
                  <a:lnTo>
                    <a:pt x="314" y="23"/>
                  </a:lnTo>
                  <a:lnTo>
                    <a:pt x="284" y="25"/>
                  </a:lnTo>
                  <a:lnTo>
                    <a:pt x="256" y="27"/>
                  </a:lnTo>
                  <a:lnTo>
                    <a:pt x="231" y="28"/>
                  </a:lnTo>
                  <a:lnTo>
                    <a:pt x="211" y="28"/>
                  </a:lnTo>
                  <a:lnTo>
                    <a:pt x="191" y="28"/>
                  </a:lnTo>
                  <a:lnTo>
                    <a:pt x="166" y="27"/>
                  </a:lnTo>
                  <a:lnTo>
                    <a:pt x="138" y="25"/>
                  </a:lnTo>
                  <a:lnTo>
                    <a:pt x="108" y="23"/>
                  </a:lnTo>
                  <a:lnTo>
                    <a:pt x="78" y="19"/>
                  </a:lnTo>
                  <a:lnTo>
                    <a:pt x="49" y="13"/>
                  </a:lnTo>
                  <a:lnTo>
                    <a:pt x="35" y="10"/>
                  </a:lnTo>
                  <a:lnTo>
                    <a:pt x="22" y="7"/>
                  </a:lnTo>
                  <a:lnTo>
                    <a:pt x="1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 500">
              <a:extLst>
                <a:ext uri="{FF2B5EF4-FFF2-40B4-BE49-F238E27FC236}">
                  <a16:creationId xmlns:a16="http://schemas.microsoft.com/office/drawing/2014/main" id="{A58C81C6-1A87-438C-8117-DAFDDDA980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474788"/>
              <a:ext cx="133350" cy="28575"/>
            </a:xfrm>
            <a:custGeom>
              <a:avLst/>
              <a:gdLst>
                <a:gd name="T0" fmla="*/ 420 w 420"/>
                <a:gd name="T1" fmla="*/ 58 h 90"/>
                <a:gd name="T2" fmla="*/ 419 w 420"/>
                <a:gd name="T3" fmla="*/ 55 h 90"/>
                <a:gd name="T4" fmla="*/ 418 w 420"/>
                <a:gd name="T5" fmla="*/ 50 h 90"/>
                <a:gd name="T6" fmla="*/ 416 w 420"/>
                <a:gd name="T7" fmla="*/ 47 h 90"/>
                <a:gd name="T8" fmla="*/ 413 w 420"/>
                <a:gd name="T9" fmla="*/ 44 h 90"/>
                <a:gd name="T10" fmla="*/ 406 w 420"/>
                <a:gd name="T11" fmla="*/ 37 h 90"/>
                <a:gd name="T12" fmla="*/ 397 w 420"/>
                <a:gd name="T13" fmla="*/ 32 h 90"/>
                <a:gd name="T14" fmla="*/ 386 w 420"/>
                <a:gd name="T15" fmla="*/ 27 h 90"/>
                <a:gd name="T16" fmla="*/ 374 w 420"/>
                <a:gd name="T17" fmla="*/ 22 h 90"/>
                <a:gd name="T18" fmla="*/ 360 w 420"/>
                <a:gd name="T19" fmla="*/ 18 h 90"/>
                <a:gd name="T20" fmla="*/ 345 w 420"/>
                <a:gd name="T21" fmla="*/ 14 h 90"/>
                <a:gd name="T22" fmla="*/ 313 w 420"/>
                <a:gd name="T23" fmla="*/ 9 h 90"/>
                <a:gd name="T24" fmla="*/ 277 w 420"/>
                <a:gd name="T25" fmla="*/ 3 h 90"/>
                <a:gd name="T26" fmla="*/ 243 w 420"/>
                <a:gd name="T27" fmla="*/ 1 h 90"/>
                <a:gd name="T28" fmla="*/ 210 w 420"/>
                <a:gd name="T29" fmla="*/ 0 h 90"/>
                <a:gd name="T30" fmla="*/ 172 w 420"/>
                <a:gd name="T31" fmla="*/ 1 h 90"/>
                <a:gd name="T32" fmla="*/ 133 w 420"/>
                <a:gd name="T33" fmla="*/ 4 h 90"/>
                <a:gd name="T34" fmla="*/ 113 w 420"/>
                <a:gd name="T35" fmla="*/ 7 h 90"/>
                <a:gd name="T36" fmla="*/ 94 w 420"/>
                <a:gd name="T37" fmla="*/ 11 h 90"/>
                <a:gd name="T38" fmla="*/ 76 w 420"/>
                <a:gd name="T39" fmla="*/ 14 h 90"/>
                <a:gd name="T40" fmla="*/ 59 w 420"/>
                <a:gd name="T41" fmla="*/ 18 h 90"/>
                <a:gd name="T42" fmla="*/ 59 w 420"/>
                <a:gd name="T43" fmla="*/ 18 h 90"/>
                <a:gd name="T44" fmla="*/ 55 w 420"/>
                <a:gd name="T45" fmla="*/ 19 h 90"/>
                <a:gd name="T46" fmla="*/ 52 w 420"/>
                <a:gd name="T47" fmla="*/ 20 h 90"/>
                <a:gd name="T48" fmla="*/ 48 w 420"/>
                <a:gd name="T49" fmla="*/ 21 h 90"/>
                <a:gd name="T50" fmla="*/ 44 w 420"/>
                <a:gd name="T51" fmla="*/ 22 h 90"/>
                <a:gd name="T52" fmla="*/ 43 w 420"/>
                <a:gd name="T53" fmla="*/ 24 h 90"/>
                <a:gd name="T54" fmla="*/ 40 w 420"/>
                <a:gd name="T55" fmla="*/ 24 h 90"/>
                <a:gd name="T56" fmla="*/ 35 w 420"/>
                <a:gd name="T57" fmla="*/ 26 h 90"/>
                <a:gd name="T58" fmla="*/ 31 w 420"/>
                <a:gd name="T59" fmla="*/ 28 h 90"/>
                <a:gd name="T60" fmla="*/ 30 w 420"/>
                <a:gd name="T61" fmla="*/ 28 h 90"/>
                <a:gd name="T62" fmla="*/ 30 w 420"/>
                <a:gd name="T63" fmla="*/ 28 h 90"/>
                <a:gd name="T64" fmla="*/ 19 w 420"/>
                <a:gd name="T65" fmla="*/ 33 h 90"/>
                <a:gd name="T66" fmla="*/ 12 w 420"/>
                <a:gd name="T67" fmla="*/ 40 h 90"/>
                <a:gd name="T68" fmla="*/ 10 w 420"/>
                <a:gd name="T69" fmla="*/ 40 h 90"/>
                <a:gd name="T70" fmla="*/ 10 w 420"/>
                <a:gd name="T71" fmla="*/ 40 h 90"/>
                <a:gd name="T72" fmla="*/ 7 w 420"/>
                <a:gd name="T73" fmla="*/ 43 h 90"/>
                <a:gd name="T74" fmla="*/ 5 w 420"/>
                <a:gd name="T75" fmla="*/ 46 h 90"/>
                <a:gd name="T76" fmla="*/ 4 w 420"/>
                <a:gd name="T77" fmla="*/ 47 h 90"/>
                <a:gd name="T78" fmla="*/ 4 w 420"/>
                <a:gd name="T79" fmla="*/ 48 h 90"/>
                <a:gd name="T80" fmla="*/ 2 w 420"/>
                <a:gd name="T81" fmla="*/ 50 h 90"/>
                <a:gd name="T82" fmla="*/ 1 w 420"/>
                <a:gd name="T83" fmla="*/ 52 h 90"/>
                <a:gd name="T84" fmla="*/ 0 w 420"/>
                <a:gd name="T85" fmla="*/ 56 h 90"/>
                <a:gd name="T86" fmla="*/ 0 w 420"/>
                <a:gd name="T87" fmla="*/ 58 h 90"/>
                <a:gd name="T88" fmla="*/ 8 w 420"/>
                <a:gd name="T89" fmla="*/ 63 h 90"/>
                <a:gd name="T90" fmla="*/ 22 w 420"/>
                <a:gd name="T91" fmla="*/ 68 h 90"/>
                <a:gd name="T92" fmla="*/ 43 w 420"/>
                <a:gd name="T93" fmla="*/ 74 h 90"/>
                <a:gd name="T94" fmla="*/ 67 w 420"/>
                <a:gd name="T95" fmla="*/ 78 h 90"/>
                <a:gd name="T96" fmla="*/ 96 w 420"/>
                <a:gd name="T97" fmla="*/ 84 h 90"/>
                <a:gd name="T98" fmla="*/ 131 w 420"/>
                <a:gd name="T99" fmla="*/ 87 h 90"/>
                <a:gd name="T100" fmla="*/ 168 w 420"/>
                <a:gd name="T101" fmla="*/ 90 h 90"/>
                <a:gd name="T102" fmla="*/ 210 w 420"/>
                <a:gd name="T103" fmla="*/ 90 h 90"/>
                <a:gd name="T104" fmla="*/ 251 w 420"/>
                <a:gd name="T105" fmla="*/ 90 h 90"/>
                <a:gd name="T106" fmla="*/ 289 w 420"/>
                <a:gd name="T107" fmla="*/ 87 h 90"/>
                <a:gd name="T108" fmla="*/ 323 w 420"/>
                <a:gd name="T109" fmla="*/ 84 h 90"/>
                <a:gd name="T110" fmla="*/ 353 w 420"/>
                <a:gd name="T111" fmla="*/ 78 h 90"/>
                <a:gd name="T112" fmla="*/ 377 w 420"/>
                <a:gd name="T113" fmla="*/ 74 h 90"/>
                <a:gd name="T114" fmla="*/ 398 w 420"/>
                <a:gd name="T115" fmla="*/ 68 h 90"/>
                <a:gd name="T116" fmla="*/ 412 w 420"/>
                <a:gd name="T117" fmla="*/ 62 h 90"/>
                <a:gd name="T118" fmla="*/ 420 w 420"/>
                <a:gd name="T119" fmla="*/ 5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0" h="90">
                  <a:moveTo>
                    <a:pt x="420" y="58"/>
                  </a:moveTo>
                  <a:lnTo>
                    <a:pt x="419" y="55"/>
                  </a:lnTo>
                  <a:lnTo>
                    <a:pt x="418" y="50"/>
                  </a:lnTo>
                  <a:lnTo>
                    <a:pt x="416" y="47"/>
                  </a:lnTo>
                  <a:lnTo>
                    <a:pt x="413" y="44"/>
                  </a:lnTo>
                  <a:lnTo>
                    <a:pt x="406" y="37"/>
                  </a:lnTo>
                  <a:lnTo>
                    <a:pt x="397" y="32"/>
                  </a:lnTo>
                  <a:lnTo>
                    <a:pt x="386" y="27"/>
                  </a:lnTo>
                  <a:lnTo>
                    <a:pt x="374" y="22"/>
                  </a:lnTo>
                  <a:lnTo>
                    <a:pt x="360" y="18"/>
                  </a:lnTo>
                  <a:lnTo>
                    <a:pt x="345" y="14"/>
                  </a:lnTo>
                  <a:lnTo>
                    <a:pt x="313" y="9"/>
                  </a:lnTo>
                  <a:lnTo>
                    <a:pt x="277" y="3"/>
                  </a:lnTo>
                  <a:lnTo>
                    <a:pt x="243" y="1"/>
                  </a:lnTo>
                  <a:lnTo>
                    <a:pt x="210" y="0"/>
                  </a:lnTo>
                  <a:lnTo>
                    <a:pt x="172" y="1"/>
                  </a:lnTo>
                  <a:lnTo>
                    <a:pt x="133" y="4"/>
                  </a:lnTo>
                  <a:lnTo>
                    <a:pt x="113" y="7"/>
                  </a:lnTo>
                  <a:lnTo>
                    <a:pt x="94" y="11"/>
                  </a:lnTo>
                  <a:lnTo>
                    <a:pt x="76" y="14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55" y="19"/>
                  </a:lnTo>
                  <a:lnTo>
                    <a:pt x="52" y="20"/>
                  </a:lnTo>
                  <a:lnTo>
                    <a:pt x="48" y="21"/>
                  </a:lnTo>
                  <a:lnTo>
                    <a:pt x="44" y="22"/>
                  </a:lnTo>
                  <a:lnTo>
                    <a:pt x="43" y="24"/>
                  </a:lnTo>
                  <a:lnTo>
                    <a:pt x="40" y="24"/>
                  </a:lnTo>
                  <a:lnTo>
                    <a:pt x="35" y="26"/>
                  </a:lnTo>
                  <a:lnTo>
                    <a:pt x="31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19" y="33"/>
                  </a:lnTo>
                  <a:lnTo>
                    <a:pt x="12" y="40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7" y="43"/>
                  </a:lnTo>
                  <a:lnTo>
                    <a:pt x="5" y="46"/>
                  </a:lnTo>
                  <a:lnTo>
                    <a:pt x="4" y="47"/>
                  </a:lnTo>
                  <a:lnTo>
                    <a:pt x="4" y="48"/>
                  </a:lnTo>
                  <a:lnTo>
                    <a:pt x="2" y="50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0" y="58"/>
                  </a:lnTo>
                  <a:lnTo>
                    <a:pt x="8" y="63"/>
                  </a:lnTo>
                  <a:lnTo>
                    <a:pt x="22" y="68"/>
                  </a:lnTo>
                  <a:lnTo>
                    <a:pt x="43" y="74"/>
                  </a:lnTo>
                  <a:lnTo>
                    <a:pt x="67" y="78"/>
                  </a:lnTo>
                  <a:lnTo>
                    <a:pt x="96" y="84"/>
                  </a:lnTo>
                  <a:lnTo>
                    <a:pt x="131" y="87"/>
                  </a:lnTo>
                  <a:lnTo>
                    <a:pt x="168" y="90"/>
                  </a:lnTo>
                  <a:lnTo>
                    <a:pt x="210" y="90"/>
                  </a:lnTo>
                  <a:lnTo>
                    <a:pt x="251" y="90"/>
                  </a:lnTo>
                  <a:lnTo>
                    <a:pt x="289" y="87"/>
                  </a:lnTo>
                  <a:lnTo>
                    <a:pt x="323" y="84"/>
                  </a:lnTo>
                  <a:lnTo>
                    <a:pt x="353" y="78"/>
                  </a:lnTo>
                  <a:lnTo>
                    <a:pt x="377" y="74"/>
                  </a:lnTo>
                  <a:lnTo>
                    <a:pt x="398" y="68"/>
                  </a:lnTo>
                  <a:lnTo>
                    <a:pt x="412" y="62"/>
                  </a:lnTo>
                  <a:lnTo>
                    <a:pt x="42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Freeform 501">
              <a:extLst>
                <a:ext uri="{FF2B5EF4-FFF2-40B4-BE49-F238E27FC236}">
                  <a16:creationId xmlns:a16="http://schemas.microsoft.com/office/drawing/2014/main" id="{4073DC26-3EF0-4358-B2FB-8DEAD26C7C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03363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6 h 75"/>
                <a:gd name="T6" fmla="*/ 22 w 421"/>
                <a:gd name="T7" fmla="*/ 52 h 75"/>
                <a:gd name="T8" fmla="*/ 43 w 421"/>
                <a:gd name="T9" fmla="*/ 57 h 75"/>
                <a:gd name="T10" fmla="*/ 67 w 421"/>
                <a:gd name="T11" fmla="*/ 62 h 75"/>
                <a:gd name="T12" fmla="*/ 97 w 421"/>
                <a:gd name="T13" fmla="*/ 68 h 75"/>
                <a:gd name="T14" fmla="*/ 130 w 421"/>
                <a:gd name="T15" fmla="*/ 71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1 h 75"/>
                <a:gd name="T24" fmla="*/ 325 w 421"/>
                <a:gd name="T25" fmla="*/ 68 h 75"/>
                <a:gd name="T26" fmla="*/ 355 w 421"/>
                <a:gd name="T27" fmla="*/ 62 h 75"/>
                <a:gd name="T28" fmla="*/ 379 w 421"/>
                <a:gd name="T29" fmla="*/ 57 h 75"/>
                <a:gd name="T30" fmla="*/ 399 w 421"/>
                <a:gd name="T31" fmla="*/ 52 h 75"/>
                <a:gd name="T32" fmla="*/ 414 w 421"/>
                <a:gd name="T33" fmla="*/ 46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4 h 75"/>
                <a:gd name="T40" fmla="*/ 399 w 421"/>
                <a:gd name="T41" fmla="*/ 8 h 75"/>
                <a:gd name="T42" fmla="*/ 386 w 421"/>
                <a:gd name="T43" fmla="*/ 12 h 75"/>
                <a:gd name="T44" fmla="*/ 373 w 421"/>
                <a:gd name="T45" fmla="*/ 14 h 75"/>
                <a:gd name="T46" fmla="*/ 344 w 421"/>
                <a:gd name="T47" fmla="*/ 19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8 h 75"/>
                <a:gd name="T54" fmla="*/ 231 w 421"/>
                <a:gd name="T55" fmla="*/ 29 h 75"/>
                <a:gd name="T56" fmla="*/ 211 w 421"/>
                <a:gd name="T57" fmla="*/ 30 h 75"/>
                <a:gd name="T58" fmla="*/ 191 w 421"/>
                <a:gd name="T59" fmla="*/ 29 h 75"/>
                <a:gd name="T60" fmla="*/ 166 w 421"/>
                <a:gd name="T61" fmla="*/ 28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19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8 h 75"/>
                <a:gd name="T74" fmla="*/ 10 w 421"/>
                <a:gd name="T75" fmla="*/ 4 h 75"/>
                <a:gd name="T76" fmla="*/ 0 w 421"/>
                <a:gd name="T77" fmla="*/ 0 h 75"/>
                <a:gd name="T78" fmla="*/ 0 w 421"/>
                <a:gd name="T7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6"/>
                  </a:lnTo>
                  <a:lnTo>
                    <a:pt x="22" y="52"/>
                  </a:lnTo>
                  <a:lnTo>
                    <a:pt x="43" y="57"/>
                  </a:lnTo>
                  <a:lnTo>
                    <a:pt x="67" y="62"/>
                  </a:lnTo>
                  <a:lnTo>
                    <a:pt x="97" y="68"/>
                  </a:lnTo>
                  <a:lnTo>
                    <a:pt x="130" y="71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1"/>
                  </a:lnTo>
                  <a:lnTo>
                    <a:pt x="325" y="68"/>
                  </a:lnTo>
                  <a:lnTo>
                    <a:pt x="355" y="62"/>
                  </a:lnTo>
                  <a:lnTo>
                    <a:pt x="379" y="57"/>
                  </a:lnTo>
                  <a:lnTo>
                    <a:pt x="399" y="52"/>
                  </a:lnTo>
                  <a:lnTo>
                    <a:pt x="414" y="46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8"/>
                  </a:lnTo>
                  <a:lnTo>
                    <a:pt x="386" y="12"/>
                  </a:lnTo>
                  <a:lnTo>
                    <a:pt x="373" y="14"/>
                  </a:lnTo>
                  <a:lnTo>
                    <a:pt x="344" y="19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8"/>
                  </a:lnTo>
                  <a:lnTo>
                    <a:pt x="231" y="29"/>
                  </a:lnTo>
                  <a:lnTo>
                    <a:pt x="211" y="30"/>
                  </a:lnTo>
                  <a:lnTo>
                    <a:pt x="191" y="29"/>
                  </a:lnTo>
                  <a:lnTo>
                    <a:pt x="166" y="28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19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8"/>
                  </a:lnTo>
                  <a:lnTo>
                    <a:pt x="10" y="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 502">
              <a:extLst>
                <a:ext uri="{FF2B5EF4-FFF2-40B4-BE49-F238E27FC236}">
                  <a16:creationId xmlns:a16="http://schemas.microsoft.com/office/drawing/2014/main" id="{6B72D012-A2EA-4C61-8384-CFED0411A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74800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8 h 75"/>
                <a:gd name="T6" fmla="*/ 22 w 421"/>
                <a:gd name="T7" fmla="*/ 53 h 75"/>
                <a:gd name="T8" fmla="*/ 43 w 421"/>
                <a:gd name="T9" fmla="*/ 58 h 75"/>
                <a:gd name="T10" fmla="*/ 67 w 421"/>
                <a:gd name="T11" fmla="*/ 64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4 h 75"/>
                <a:gd name="T28" fmla="*/ 379 w 421"/>
                <a:gd name="T29" fmla="*/ 58 h 75"/>
                <a:gd name="T30" fmla="*/ 399 w 421"/>
                <a:gd name="T31" fmla="*/ 53 h 75"/>
                <a:gd name="T32" fmla="*/ 414 w 421"/>
                <a:gd name="T33" fmla="*/ 48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5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21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30 h 75"/>
                <a:gd name="T56" fmla="*/ 211 w 421"/>
                <a:gd name="T57" fmla="*/ 30 h 75"/>
                <a:gd name="T58" fmla="*/ 191 w 421"/>
                <a:gd name="T59" fmla="*/ 30 h 75"/>
                <a:gd name="T60" fmla="*/ 166 w 421"/>
                <a:gd name="T61" fmla="*/ 29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21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5 h 75"/>
                <a:gd name="T76" fmla="*/ 0 w 421"/>
                <a:gd name="T77" fmla="*/ 1 h 75"/>
                <a:gd name="T78" fmla="*/ 0 w 421"/>
                <a:gd name="T7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8"/>
                  </a:lnTo>
                  <a:lnTo>
                    <a:pt x="22" y="53"/>
                  </a:lnTo>
                  <a:lnTo>
                    <a:pt x="43" y="58"/>
                  </a:lnTo>
                  <a:lnTo>
                    <a:pt x="67" y="64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4"/>
                  </a:lnTo>
                  <a:lnTo>
                    <a:pt x="379" y="58"/>
                  </a:lnTo>
                  <a:lnTo>
                    <a:pt x="399" y="53"/>
                  </a:lnTo>
                  <a:lnTo>
                    <a:pt x="414" y="48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5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21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30"/>
                  </a:lnTo>
                  <a:lnTo>
                    <a:pt x="211" y="30"/>
                  </a:lnTo>
                  <a:lnTo>
                    <a:pt x="191" y="30"/>
                  </a:lnTo>
                  <a:lnTo>
                    <a:pt x="166" y="29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21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5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 503">
              <a:extLst>
                <a:ext uri="{FF2B5EF4-FFF2-40B4-BE49-F238E27FC236}">
                  <a16:creationId xmlns:a16="http://schemas.microsoft.com/office/drawing/2014/main" id="{647238C1-C646-4A06-88A1-851AE82390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50988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7 h 75"/>
                <a:gd name="T6" fmla="*/ 22 w 421"/>
                <a:gd name="T7" fmla="*/ 53 h 75"/>
                <a:gd name="T8" fmla="*/ 43 w 421"/>
                <a:gd name="T9" fmla="*/ 58 h 75"/>
                <a:gd name="T10" fmla="*/ 67 w 421"/>
                <a:gd name="T11" fmla="*/ 64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4 h 75"/>
                <a:gd name="T28" fmla="*/ 379 w 421"/>
                <a:gd name="T29" fmla="*/ 58 h 75"/>
                <a:gd name="T30" fmla="*/ 399 w 421"/>
                <a:gd name="T31" fmla="*/ 53 h 75"/>
                <a:gd name="T32" fmla="*/ 414 w 421"/>
                <a:gd name="T33" fmla="*/ 47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5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21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30 h 75"/>
                <a:gd name="T56" fmla="*/ 211 w 421"/>
                <a:gd name="T57" fmla="*/ 30 h 75"/>
                <a:gd name="T58" fmla="*/ 191 w 421"/>
                <a:gd name="T59" fmla="*/ 30 h 75"/>
                <a:gd name="T60" fmla="*/ 166 w 421"/>
                <a:gd name="T61" fmla="*/ 29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21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5 h 75"/>
                <a:gd name="T76" fmla="*/ 0 w 421"/>
                <a:gd name="T7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7"/>
                  </a:lnTo>
                  <a:lnTo>
                    <a:pt x="22" y="53"/>
                  </a:lnTo>
                  <a:lnTo>
                    <a:pt x="43" y="58"/>
                  </a:lnTo>
                  <a:lnTo>
                    <a:pt x="67" y="64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4"/>
                  </a:lnTo>
                  <a:lnTo>
                    <a:pt x="379" y="58"/>
                  </a:lnTo>
                  <a:lnTo>
                    <a:pt x="399" y="53"/>
                  </a:lnTo>
                  <a:lnTo>
                    <a:pt x="414" y="47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5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21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30"/>
                  </a:lnTo>
                  <a:lnTo>
                    <a:pt x="211" y="30"/>
                  </a:lnTo>
                  <a:lnTo>
                    <a:pt x="191" y="30"/>
                  </a:lnTo>
                  <a:lnTo>
                    <a:pt x="166" y="29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21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 504">
              <a:extLst>
                <a:ext uri="{FF2B5EF4-FFF2-40B4-BE49-F238E27FC236}">
                  <a16:creationId xmlns:a16="http://schemas.microsoft.com/office/drawing/2014/main" id="{B3C58DFD-A611-4BC4-B8F8-DCC1FF5DF9C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27175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6 h 75"/>
                <a:gd name="T6" fmla="*/ 22 w 421"/>
                <a:gd name="T7" fmla="*/ 52 h 75"/>
                <a:gd name="T8" fmla="*/ 43 w 421"/>
                <a:gd name="T9" fmla="*/ 58 h 75"/>
                <a:gd name="T10" fmla="*/ 67 w 421"/>
                <a:gd name="T11" fmla="*/ 63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3 h 75"/>
                <a:gd name="T28" fmla="*/ 379 w 421"/>
                <a:gd name="T29" fmla="*/ 58 h 75"/>
                <a:gd name="T30" fmla="*/ 399 w 421"/>
                <a:gd name="T31" fmla="*/ 52 h 75"/>
                <a:gd name="T32" fmla="*/ 414 w 421"/>
                <a:gd name="T33" fmla="*/ 47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4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19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29 h 75"/>
                <a:gd name="T56" fmla="*/ 211 w 421"/>
                <a:gd name="T57" fmla="*/ 30 h 75"/>
                <a:gd name="T58" fmla="*/ 191 w 421"/>
                <a:gd name="T59" fmla="*/ 29 h 75"/>
                <a:gd name="T60" fmla="*/ 166 w 421"/>
                <a:gd name="T61" fmla="*/ 28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19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4 h 75"/>
                <a:gd name="T76" fmla="*/ 0 w 421"/>
                <a:gd name="T7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6"/>
                  </a:lnTo>
                  <a:lnTo>
                    <a:pt x="22" y="52"/>
                  </a:lnTo>
                  <a:lnTo>
                    <a:pt x="43" y="58"/>
                  </a:lnTo>
                  <a:lnTo>
                    <a:pt x="67" y="63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3"/>
                  </a:lnTo>
                  <a:lnTo>
                    <a:pt x="379" y="58"/>
                  </a:lnTo>
                  <a:lnTo>
                    <a:pt x="399" y="52"/>
                  </a:lnTo>
                  <a:lnTo>
                    <a:pt x="414" y="47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19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29"/>
                  </a:lnTo>
                  <a:lnTo>
                    <a:pt x="211" y="30"/>
                  </a:lnTo>
                  <a:lnTo>
                    <a:pt x="191" y="29"/>
                  </a:lnTo>
                  <a:lnTo>
                    <a:pt x="166" y="28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19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CF213EB-2F87-46FE-92E2-AD6B352C3A42}"/>
              </a:ext>
            </a:extLst>
          </p:cNvPr>
          <p:cNvGrpSpPr/>
          <p:nvPr/>
        </p:nvGrpSpPr>
        <p:grpSpPr>
          <a:xfrm>
            <a:off x="4623488" y="4450823"/>
            <a:ext cx="239712" cy="285750"/>
            <a:chOff x="5494338" y="1370013"/>
            <a:chExt cx="239712" cy="285750"/>
          </a:xfrm>
          <a:gradFill>
            <a:gsLst>
              <a:gs pos="0">
                <a:srgbClr val="0683B8"/>
              </a:gs>
              <a:gs pos="100000">
                <a:srgbClr val="7030A0"/>
              </a:gs>
            </a:gsLst>
            <a:lin ang="18900000" scaled="1"/>
          </a:gradFill>
        </p:grpSpPr>
        <p:sp>
          <p:nvSpPr>
            <p:cNvPr id="59" name="Freeform 961">
              <a:extLst>
                <a:ext uri="{FF2B5EF4-FFF2-40B4-BE49-F238E27FC236}">
                  <a16:creationId xmlns:a16="http://schemas.microsoft.com/office/drawing/2014/main" id="{25AB7416-6918-4CFC-BD4C-1C0702DE60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29275" y="1370013"/>
              <a:ext cx="104775" cy="133350"/>
            </a:xfrm>
            <a:custGeom>
              <a:avLst/>
              <a:gdLst>
                <a:gd name="T0" fmla="*/ 156 w 265"/>
                <a:gd name="T1" fmla="*/ 108 h 337"/>
                <a:gd name="T2" fmla="*/ 156 w 265"/>
                <a:gd name="T3" fmla="*/ 12 h 337"/>
                <a:gd name="T4" fmla="*/ 252 w 265"/>
                <a:gd name="T5" fmla="*/ 108 h 337"/>
                <a:gd name="T6" fmla="*/ 156 w 265"/>
                <a:gd name="T7" fmla="*/ 108 h 337"/>
                <a:gd name="T8" fmla="*/ 261 w 265"/>
                <a:gd name="T9" fmla="*/ 100 h 337"/>
                <a:gd name="T10" fmla="*/ 165 w 265"/>
                <a:gd name="T11" fmla="*/ 3 h 337"/>
                <a:gd name="T12" fmla="*/ 161 w 265"/>
                <a:gd name="T13" fmla="*/ 1 h 337"/>
                <a:gd name="T14" fmla="*/ 156 w 265"/>
                <a:gd name="T15" fmla="*/ 0 h 337"/>
                <a:gd name="T16" fmla="*/ 12 w 265"/>
                <a:gd name="T17" fmla="*/ 0 h 337"/>
                <a:gd name="T18" fmla="*/ 7 w 265"/>
                <a:gd name="T19" fmla="*/ 1 h 337"/>
                <a:gd name="T20" fmla="*/ 3 w 265"/>
                <a:gd name="T21" fmla="*/ 3 h 337"/>
                <a:gd name="T22" fmla="*/ 1 w 265"/>
                <a:gd name="T23" fmla="*/ 7 h 337"/>
                <a:gd name="T24" fmla="*/ 0 w 265"/>
                <a:gd name="T25" fmla="*/ 12 h 337"/>
                <a:gd name="T26" fmla="*/ 0 w 265"/>
                <a:gd name="T27" fmla="*/ 325 h 337"/>
                <a:gd name="T28" fmla="*/ 1 w 265"/>
                <a:gd name="T29" fmla="*/ 329 h 337"/>
                <a:gd name="T30" fmla="*/ 3 w 265"/>
                <a:gd name="T31" fmla="*/ 334 h 337"/>
                <a:gd name="T32" fmla="*/ 7 w 265"/>
                <a:gd name="T33" fmla="*/ 337 h 337"/>
                <a:gd name="T34" fmla="*/ 12 w 265"/>
                <a:gd name="T35" fmla="*/ 337 h 337"/>
                <a:gd name="T36" fmla="*/ 253 w 265"/>
                <a:gd name="T37" fmla="*/ 337 h 337"/>
                <a:gd name="T38" fmla="*/ 258 w 265"/>
                <a:gd name="T39" fmla="*/ 337 h 337"/>
                <a:gd name="T40" fmla="*/ 261 w 265"/>
                <a:gd name="T41" fmla="*/ 334 h 337"/>
                <a:gd name="T42" fmla="*/ 264 w 265"/>
                <a:gd name="T43" fmla="*/ 329 h 337"/>
                <a:gd name="T44" fmla="*/ 265 w 265"/>
                <a:gd name="T45" fmla="*/ 325 h 337"/>
                <a:gd name="T46" fmla="*/ 265 w 265"/>
                <a:gd name="T47" fmla="*/ 108 h 337"/>
                <a:gd name="T48" fmla="*/ 264 w 265"/>
                <a:gd name="T49" fmla="*/ 104 h 337"/>
                <a:gd name="T50" fmla="*/ 261 w 265"/>
                <a:gd name="T51" fmla="*/ 10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5" h="337">
                  <a:moveTo>
                    <a:pt x="156" y="108"/>
                  </a:moveTo>
                  <a:lnTo>
                    <a:pt x="156" y="12"/>
                  </a:lnTo>
                  <a:lnTo>
                    <a:pt x="252" y="108"/>
                  </a:lnTo>
                  <a:lnTo>
                    <a:pt x="156" y="108"/>
                  </a:lnTo>
                  <a:close/>
                  <a:moveTo>
                    <a:pt x="261" y="100"/>
                  </a:moveTo>
                  <a:lnTo>
                    <a:pt x="165" y="3"/>
                  </a:lnTo>
                  <a:lnTo>
                    <a:pt x="161" y="1"/>
                  </a:lnTo>
                  <a:lnTo>
                    <a:pt x="156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325"/>
                  </a:lnTo>
                  <a:lnTo>
                    <a:pt x="1" y="329"/>
                  </a:lnTo>
                  <a:lnTo>
                    <a:pt x="3" y="334"/>
                  </a:lnTo>
                  <a:lnTo>
                    <a:pt x="7" y="337"/>
                  </a:lnTo>
                  <a:lnTo>
                    <a:pt x="12" y="337"/>
                  </a:lnTo>
                  <a:lnTo>
                    <a:pt x="253" y="337"/>
                  </a:lnTo>
                  <a:lnTo>
                    <a:pt x="258" y="337"/>
                  </a:lnTo>
                  <a:lnTo>
                    <a:pt x="261" y="334"/>
                  </a:lnTo>
                  <a:lnTo>
                    <a:pt x="264" y="329"/>
                  </a:lnTo>
                  <a:lnTo>
                    <a:pt x="265" y="325"/>
                  </a:lnTo>
                  <a:lnTo>
                    <a:pt x="265" y="108"/>
                  </a:lnTo>
                  <a:lnTo>
                    <a:pt x="264" y="104"/>
                  </a:lnTo>
                  <a:lnTo>
                    <a:pt x="261" y="1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reeform 962">
              <a:extLst>
                <a:ext uri="{FF2B5EF4-FFF2-40B4-BE49-F238E27FC236}">
                  <a16:creationId xmlns:a16="http://schemas.microsoft.com/office/drawing/2014/main" id="{A53A1029-D92C-473D-A0A6-DE77495E27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94338" y="1370013"/>
              <a:ext cx="106363" cy="133350"/>
            </a:xfrm>
            <a:custGeom>
              <a:avLst/>
              <a:gdLst>
                <a:gd name="T0" fmla="*/ 157 w 266"/>
                <a:gd name="T1" fmla="*/ 108 h 337"/>
                <a:gd name="T2" fmla="*/ 157 w 266"/>
                <a:gd name="T3" fmla="*/ 12 h 337"/>
                <a:gd name="T4" fmla="*/ 252 w 266"/>
                <a:gd name="T5" fmla="*/ 108 h 337"/>
                <a:gd name="T6" fmla="*/ 157 w 266"/>
                <a:gd name="T7" fmla="*/ 108 h 337"/>
                <a:gd name="T8" fmla="*/ 166 w 266"/>
                <a:gd name="T9" fmla="*/ 3 h 337"/>
                <a:gd name="T10" fmla="*/ 162 w 266"/>
                <a:gd name="T11" fmla="*/ 1 h 337"/>
                <a:gd name="T12" fmla="*/ 157 w 266"/>
                <a:gd name="T13" fmla="*/ 0 h 337"/>
                <a:gd name="T14" fmla="*/ 13 w 266"/>
                <a:gd name="T15" fmla="*/ 0 h 337"/>
                <a:gd name="T16" fmla="*/ 8 w 266"/>
                <a:gd name="T17" fmla="*/ 1 h 337"/>
                <a:gd name="T18" fmla="*/ 5 w 266"/>
                <a:gd name="T19" fmla="*/ 3 h 337"/>
                <a:gd name="T20" fmla="*/ 1 w 266"/>
                <a:gd name="T21" fmla="*/ 7 h 337"/>
                <a:gd name="T22" fmla="*/ 0 w 266"/>
                <a:gd name="T23" fmla="*/ 12 h 337"/>
                <a:gd name="T24" fmla="*/ 0 w 266"/>
                <a:gd name="T25" fmla="*/ 325 h 337"/>
                <a:gd name="T26" fmla="*/ 1 w 266"/>
                <a:gd name="T27" fmla="*/ 329 h 337"/>
                <a:gd name="T28" fmla="*/ 5 w 266"/>
                <a:gd name="T29" fmla="*/ 334 h 337"/>
                <a:gd name="T30" fmla="*/ 8 w 266"/>
                <a:gd name="T31" fmla="*/ 337 h 337"/>
                <a:gd name="T32" fmla="*/ 13 w 266"/>
                <a:gd name="T33" fmla="*/ 337 h 337"/>
                <a:gd name="T34" fmla="*/ 253 w 266"/>
                <a:gd name="T35" fmla="*/ 337 h 337"/>
                <a:gd name="T36" fmla="*/ 258 w 266"/>
                <a:gd name="T37" fmla="*/ 337 h 337"/>
                <a:gd name="T38" fmla="*/ 263 w 266"/>
                <a:gd name="T39" fmla="*/ 334 h 337"/>
                <a:gd name="T40" fmla="*/ 265 w 266"/>
                <a:gd name="T41" fmla="*/ 329 h 337"/>
                <a:gd name="T42" fmla="*/ 266 w 266"/>
                <a:gd name="T43" fmla="*/ 325 h 337"/>
                <a:gd name="T44" fmla="*/ 266 w 266"/>
                <a:gd name="T45" fmla="*/ 108 h 337"/>
                <a:gd name="T46" fmla="*/ 265 w 266"/>
                <a:gd name="T47" fmla="*/ 104 h 337"/>
                <a:gd name="T48" fmla="*/ 263 w 266"/>
                <a:gd name="T49" fmla="*/ 100 h 337"/>
                <a:gd name="T50" fmla="*/ 166 w 266"/>
                <a:gd name="T51" fmla="*/ 3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6" h="337">
                  <a:moveTo>
                    <a:pt x="157" y="108"/>
                  </a:moveTo>
                  <a:lnTo>
                    <a:pt x="157" y="12"/>
                  </a:lnTo>
                  <a:lnTo>
                    <a:pt x="252" y="108"/>
                  </a:lnTo>
                  <a:lnTo>
                    <a:pt x="157" y="108"/>
                  </a:lnTo>
                  <a:close/>
                  <a:moveTo>
                    <a:pt x="166" y="3"/>
                  </a:moveTo>
                  <a:lnTo>
                    <a:pt x="162" y="1"/>
                  </a:lnTo>
                  <a:lnTo>
                    <a:pt x="157" y="0"/>
                  </a:lnTo>
                  <a:lnTo>
                    <a:pt x="13" y="0"/>
                  </a:lnTo>
                  <a:lnTo>
                    <a:pt x="8" y="1"/>
                  </a:lnTo>
                  <a:lnTo>
                    <a:pt x="5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325"/>
                  </a:lnTo>
                  <a:lnTo>
                    <a:pt x="1" y="329"/>
                  </a:lnTo>
                  <a:lnTo>
                    <a:pt x="5" y="334"/>
                  </a:lnTo>
                  <a:lnTo>
                    <a:pt x="8" y="337"/>
                  </a:lnTo>
                  <a:lnTo>
                    <a:pt x="13" y="337"/>
                  </a:lnTo>
                  <a:lnTo>
                    <a:pt x="253" y="337"/>
                  </a:lnTo>
                  <a:lnTo>
                    <a:pt x="258" y="337"/>
                  </a:lnTo>
                  <a:lnTo>
                    <a:pt x="263" y="334"/>
                  </a:lnTo>
                  <a:lnTo>
                    <a:pt x="265" y="329"/>
                  </a:lnTo>
                  <a:lnTo>
                    <a:pt x="266" y="325"/>
                  </a:lnTo>
                  <a:lnTo>
                    <a:pt x="266" y="108"/>
                  </a:lnTo>
                  <a:lnTo>
                    <a:pt x="265" y="104"/>
                  </a:lnTo>
                  <a:lnTo>
                    <a:pt x="263" y="100"/>
                  </a:lnTo>
                  <a:lnTo>
                    <a:pt x="166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reeform 963">
              <a:extLst>
                <a:ext uri="{FF2B5EF4-FFF2-40B4-BE49-F238E27FC236}">
                  <a16:creationId xmlns:a16="http://schemas.microsoft.com/office/drawing/2014/main" id="{8E5510B4-EAA5-4B2D-9E4D-87C0E69B2A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29275" y="1522413"/>
              <a:ext cx="104775" cy="133350"/>
            </a:xfrm>
            <a:custGeom>
              <a:avLst/>
              <a:gdLst>
                <a:gd name="T0" fmla="*/ 156 w 265"/>
                <a:gd name="T1" fmla="*/ 108 h 336"/>
                <a:gd name="T2" fmla="*/ 156 w 265"/>
                <a:gd name="T3" fmla="*/ 11 h 336"/>
                <a:gd name="T4" fmla="*/ 252 w 265"/>
                <a:gd name="T5" fmla="*/ 108 h 336"/>
                <a:gd name="T6" fmla="*/ 156 w 265"/>
                <a:gd name="T7" fmla="*/ 108 h 336"/>
                <a:gd name="T8" fmla="*/ 165 w 265"/>
                <a:gd name="T9" fmla="*/ 3 h 336"/>
                <a:gd name="T10" fmla="*/ 161 w 265"/>
                <a:gd name="T11" fmla="*/ 1 h 336"/>
                <a:gd name="T12" fmla="*/ 156 w 265"/>
                <a:gd name="T13" fmla="*/ 0 h 336"/>
                <a:gd name="T14" fmla="*/ 12 w 265"/>
                <a:gd name="T15" fmla="*/ 0 h 336"/>
                <a:gd name="T16" fmla="*/ 7 w 265"/>
                <a:gd name="T17" fmla="*/ 1 h 336"/>
                <a:gd name="T18" fmla="*/ 3 w 265"/>
                <a:gd name="T19" fmla="*/ 3 h 336"/>
                <a:gd name="T20" fmla="*/ 1 w 265"/>
                <a:gd name="T21" fmla="*/ 7 h 336"/>
                <a:gd name="T22" fmla="*/ 0 w 265"/>
                <a:gd name="T23" fmla="*/ 11 h 336"/>
                <a:gd name="T24" fmla="*/ 0 w 265"/>
                <a:gd name="T25" fmla="*/ 325 h 336"/>
                <a:gd name="T26" fmla="*/ 1 w 265"/>
                <a:gd name="T27" fmla="*/ 329 h 336"/>
                <a:gd name="T28" fmla="*/ 3 w 265"/>
                <a:gd name="T29" fmla="*/ 333 h 336"/>
                <a:gd name="T30" fmla="*/ 7 w 265"/>
                <a:gd name="T31" fmla="*/ 335 h 336"/>
                <a:gd name="T32" fmla="*/ 12 w 265"/>
                <a:gd name="T33" fmla="*/ 336 h 336"/>
                <a:gd name="T34" fmla="*/ 253 w 265"/>
                <a:gd name="T35" fmla="*/ 336 h 336"/>
                <a:gd name="T36" fmla="*/ 258 w 265"/>
                <a:gd name="T37" fmla="*/ 335 h 336"/>
                <a:gd name="T38" fmla="*/ 261 w 265"/>
                <a:gd name="T39" fmla="*/ 333 h 336"/>
                <a:gd name="T40" fmla="*/ 264 w 265"/>
                <a:gd name="T41" fmla="*/ 329 h 336"/>
                <a:gd name="T42" fmla="*/ 265 w 265"/>
                <a:gd name="T43" fmla="*/ 325 h 336"/>
                <a:gd name="T44" fmla="*/ 265 w 265"/>
                <a:gd name="T45" fmla="*/ 108 h 336"/>
                <a:gd name="T46" fmla="*/ 264 w 265"/>
                <a:gd name="T47" fmla="*/ 104 h 336"/>
                <a:gd name="T48" fmla="*/ 261 w 265"/>
                <a:gd name="T49" fmla="*/ 100 h 336"/>
                <a:gd name="T50" fmla="*/ 165 w 265"/>
                <a:gd name="T51" fmla="*/ 3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5" h="336">
                  <a:moveTo>
                    <a:pt x="156" y="108"/>
                  </a:moveTo>
                  <a:lnTo>
                    <a:pt x="156" y="11"/>
                  </a:lnTo>
                  <a:lnTo>
                    <a:pt x="252" y="108"/>
                  </a:lnTo>
                  <a:lnTo>
                    <a:pt x="156" y="108"/>
                  </a:lnTo>
                  <a:close/>
                  <a:moveTo>
                    <a:pt x="165" y="3"/>
                  </a:moveTo>
                  <a:lnTo>
                    <a:pt x="161" y="1"/>
                  </a:lnTo>
                  <a:lnTo>
                    <a:pt x="156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325"/>
                  </a:lnTo>
                  <a:lnTo>
                    <a:pt x="1" y="329"/>
                  </a:lnTo>
                  <a:lnTo>
                    <a:pt x="3" y="333"/>
                  </a:lnTo>
                  <a:lnTo>
                    <a:pt x="7" y="335"/>
                  </a:lnTo>
                  <a:lnTo>
                    <a:pt x="12" y="336"/>
                  </a:lnTo>
                  <a:lnTo>
                    <a:pt x="253" y="336"/>
                  </a:lnTo>
                  <a:lnTo>
                    <a:pt x="258" y="335"/>
                  </a:lnTo>
                  <a:lnTo>
                    <a:pt x="261" y="333"/>
                  </a:lnTo>
                  <a:lnTo>
                    <a:pt x="264" y="329"/>
                  </a:lnTo>
                  <a:lnTo>
                    <a:pt x="265" y="325"/>
                  </a:lnTo>
                  <a:lnTo>
                    <a:pt x="265" y="108"/>
                  </a:lnTo>
                  <a:lnTo>
                    <a:pt x="264" y="104"/>
                  </a:lnTo>
                  <a:lnTo>
                    <a:pt x="261" y="100"/>
                  </a:lnTo>
                  <a:lnTo>
                    <a:pt x="165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reeform 964">
              <a:extLst>
                <a:ext uri="{FF2B5EF4-FFF2-40B4-BE49-F238E27FC236}">
                  <a16:creationId xmlns:a16="http://schemas.microsoft.com/office/drawing/2014/main" id="{51A990BD-3456-4FEA-B40E-A6BDCB2EC7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94338" y="1522413"/>
              <a:ext cx="106363" cy="133350"/>
            </a:xfrm>
            <a:custGeom>
              <a:avLst/>
              <a:gdLst>
                <a:gd name="T0" fmla="*/ 157 w 266"/>
                <a:gd name="T1" fmla="*/ 108 h 336"/>
                <a:gd name="T2" fmla="*/ 157 w 266"/>
                <a:gd name="T3" fmla="*/ 11 h 336"/>
                <a:gd name="T4" fmla="*/ 252 w 266"/>
                <a:gd name="T5" fmla="*/ 108 h 336"/>
                <a:gd name="T6" fmla="*/ 157 w 266"/>
                <a:gd name="T7" fmla="*/ 108 h 336"/>
                <a:gd name="T8" fmla="*/ 166 w 266"/>
                <a:gd name="T9" fmla="*/ 3 h 336"/>
                <a:gd name="T10" fmla="*/ 162 w 266"/>
                <a:gd name="T11" fmla="*/ 1 h 336"/>
                <a:gd name="T12" fmla="*/ 157 w 266"/>
                <a:gd name="T13" fmla="*/ 0 h 336"/>
                <a:gd name="T14" fmla="*/ 13 w 266"/>
                <a:gd name="T15" fmla="*/ 0 h 336"/>
                <a:gd name="T16" fmla="*/ 8 w 266"/>
                <a:gd name="T17" fmla="*/ 1 h 336"/>
                <a:gd name="T18" fmla="*/ 5 w 266"/>
                <a:gd name="T19" fmla="*/ 3 h 336"/>
                <a:gd name="T20" fmla="*/ 1 w 266"/>
                <a:gd name="T21" fmla="*/ 7 h 336"/>
                <a:gd name="T22" fmla="*/ 0 w 266"/>
                <a:gd name="T23" fmla="*/ 11 h 336"/>
                <a:gd name="T24" fmla="*/ 0 w 266"/>
                <a:gd name="T25" fmla="*/ 325 h 336"/>
                <a:gd name="T26" fmla="*/ 1 w 266"/>
                <a:gd name="T27" fmla="*/ 329 h 336"/>
                <a:gd name="T28" fmla="*/ 5 w 266"/>
                <a:gd name="T29" fmla="*/ 333 h 336"/>
                <a:gd name="T30" fmla="*/ 8 w 266"/>
                <a:gd name="T31" fmla="*/ 335 h 336"/>
                <a:gd name="T32" fmla="*/ 13 w 266"/>
                <a:gd name="T33" fmla="*/ 336 h 336"/>
                <a:gd name="T34" fmla="*/ 253 w 266"/>
                <a:gd name="T35" fmla="*/ 336 h 336"/>
                <a:gd name="T36" fmla="*/ 258 w 266"/>
                <a:gd name="T37" fmla="*/ 335 h 336"/>
                <a:gd name="T38" fmla="*/ 263 w 266"/>
                <a:gd name="T39" fmla="*/ 333 h 336"/>
                <a:gd name="T40" fmla="*/ 265 w 266"/>
                <a:gd name="T41" fmla="*/ 329 h 336"/>
                <a:gd name="T42" fmla="*/ 266 w 266"/>
                <a:gd name="T43" fmla="*/ 325 h 336"/>
                <a:gd name="T44" fmla="*/ 266 w 266"/>
                <a:gd name="T45" fmla="*/ 108 h 336"/>
                <a:gd name="T46" fmla="*/ 265 w 266"/>
                <a:gd name="T47" fmla="*/ 104 h 336"/>
                <a:gd name="T48" fmla="*/ 263 w 266"/>
                <a:gd name="T49" fmla="*/ 100 h 336"/>
                <a:gd name="T50" fmla="*/ 166 w 266"/>
                <a:gd name="T51" fmla="*/ 3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6" h="336">
                  <a:moveTo>
                    <a:pt x="157" y="108"/>
                  </a:moveTo>
                  <a:lnTo>
                    <a:pt x="157" y="11"/>
                  </a:lnTo>
                  <a:lnTo>
                    <a:pt x="252" y="108"/>
                  </a:lnTo>
                  <a:lnTo>
                    <a:pt x="157" y="108"/>
                  </a:lnTo>
                  <a:close/>
                  <a:moveTo>
                    <a:pt x="166" y="3"/>
                  </a:moveTo>
                  <a:lnTo>
                    <a:pt x="162" y="1"/>
                  </a:lnTo>
                  <a:lnTo>
                    <a:pt x="157" y="0"/>
                  </a:lnTo>
                  <a:lnTo>
                    <a:pt x="13" y="0"/>
                  </a:lnTo>
                  <a:lnTo>
                    <a:pt x="8" y="1"/>
                  </a:lnTo>
                  <a:lnTo>
                    <a:pt x="5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325"/>
                  </a:lnTo>
                  <a:lnTo>
                    <a:pt x="1" y="329"/>
                  </a:lnTo>
                  <a:lnTo>
                    <a:pt x="5" y="333"/>
                  </a:lnTo>
                  <a:lnTo>
                    <a:pt x="8" y="335"/>
                  </a:lnTo>
                  <a:lnTo>
                    <a:pt x="13" y="336"/>
                  </a:lnTo>
                  <a:lnTo>
                    <a:pt x="253" y="336"/>
                  </a:lnTo>
                  <a:lnTo>
                    <a:pt x="258" y="335"/>
                  </a:lnTo>
                  <a:lnTo>
                    <a:pt x="263" y="333"/>
                  </a:lnTo>
                  <a:lnTo>
                    <a:pt x="265" y="329"/>
                  </a:lnTo>
                  <a:lnTo>
                    <a:pt x="266" y="325"/>
                  </a:lnTo>
                  <a:lnTo>
                    <a:pt x="266" y="108"/>
                  </a:lnTo>
                  <a:lnTo>
                    <a:pt x="265" y="104"/>
                  </a:lnTo>
                  <a:lnTo>
                    <a:pt x="263" y="100"/>
                  </a:lnTo>
                  <a:lnTo>
                    <a:pt x="166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5863A1AB-4643-4272-858D-6F68D283B76B}"/>
              </a:ext>
            </a:extLst>
          </p:cNvPr>
          <p:cNvGrpSpPr/>
          <p:nvPr/>
        </p:nvGrpSpPr>
        <p:grpSpPr>
          <a:xfrm>
            <a:off x="7652324" y="3396719"/>
            <a:ext cx="285750" cy="287338"/>
            <a:chOff x="2025650" y="4786313"/>
            <a:chExt cx="285750" cy="287338"/>
          </a:xfrm>
          <a:gradFill>
            <a:gsLst>
              <a:gs pos="0">
                <a:srgbClr val="0683B8"/>
              </a:gs>
              <a:gs pos="100000">
                <a:srgbClr val="7030A0"/>
              </a:gs>
            </a:gsLst>
            <a:lin ang="18900000" scaled="1"/>
          </a:gradFill>
        </p:grpSpPr>
        <p:sp>
          <p:nvSpPr>
            <p:cNvPr id="64" name="Freeform 565">
              <a:extLst>
                <a:ext uri="{FF2B5EF4-FFF2-40B4-BE49-F238E27FC236}">
                  <a16:creationId xmlns:a16="http://schemas.microsoft.com/office/drawing/2014/main" id="{7C4A3111-F3A6-4737-B2D2-540217E696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25650" y="4786313"/>
              <a:ext cx="285750" cy="287338"/>
            </a:xfrm>
            <a:custGeom>
              <a:avLst/>
              <a:gdLst>
                <a:gd name="T0" fmla="*/ 812 w 903"/>
                <a:gd name="T1" fmla="*/ 500 h 903"/>
                <a:gd name="T2" fmla="*/ 810 w 903"/>
                <a:gd name="T3" fmla="*/ 505 h 903"/>
                <a:gd name="T4" fmla="*/ 806 w 903"/>
                <a:gd name="T5" fmla="*/ 509 h 903"/>
                <a:gd name="T6" fmla="*/ 800 w 903"/>
                <a:gd name="T7" fmla="*/ 511 h 903"/>
                <a:gd name="T8" fmla="*/ 105 w 903"/>
                <a:gd name="T9" fmla="*/ 511 h 903"/>
                <a:gd name="T10" fmla="*/ 99 w 903"/>
                <a:gd name="T11" fmla="*/ 510 h 903"/>
                <a:gd name="T12" fmla="*/ 95 w 903"/>
                <a:gd name="T13" fmla="*/ 507 h 903"/>
                <a:gd name="T14" fmla="*/ 92 w 903"/>
                <a:gd name="T15" fmla="*/ 502 h 903"/>
                <a:gd name="T16" fmla="*/ 90 w 903"/>
                <a:gd name="T17" fmla="*/ 496 h 903"/>
                <a:gd name="T18" fmla="*/ 90 w 903"/>
                <a:gd name="T19" fmla="*/ 105 h 903"/>
                <a:gd name="T20" fmla="*/ 92 w 903"/>
                <a:gd name="T21" fmla="*/ 100 h 903"/>
                <a:gd name="T22" fmla="*/ 95 w 903"/>
                <a:gd name="T23" fmla="*/ 94 h 903"/>
                <a:gd name="T24" fmla="*/ 99 w 903"/>
                <a:gd name="T25" fmla="*/ 91 h 903"/>
                <a:gd name="T26" fmla="*/ 105 w 903"/>
                <a:gd name="T27" fmla="*/ 90 h 903"/>
                <a:gd name="T28" fmla="*/ 800 w 903"/>
                <a:gd name="T29" fmla="*/ 90 h 903"/>
                <a:gd name="T30" fmla="*/ 806 w 903"/>
                <a:gd name="T31" fmla="*/ 92 h 903"/>
                <a:gd name="T32" fmla="*/ 810 w 903"/>
                <a:gd name="T33" fmla="*/ 96 h 903"/>
                <a:gd name="T34" fmla="*/ 812 w 903"/>
                <a:gd name="T35" fmla="*/ 102 h 903"/>
                <a:gd name="T36" fmla="*/ 813 w 903"/>
                <a:gd name="T37" fmla="*/ 496 h 903"/>
                <a:gd name="T38" fmla="*/ 15 w 903"/>
                <a:gd name="T39" fmla="*/ 0 h 903"/>
                <a:gd name="T40" fmla="*/ 9 w 903"/>
                <a:gd name="T41" fmla="*/ 1 h 903"/>
                <a:gd name="T42" fmla="*/ 5 w 903"/>
                <a:gd name="T43" fmla="*/ 4 h 903"/>
                <a:gd name="T44" fmla="*/ 1 w 903"/>
                <a:gd name="T45" fmla="*/ 8 h 903"/>
                <a:gd name="T46" fmla="*/ 0 w 903"/>
                <a:gd name="T47" fmla="*/ 15 h 903"/>
                <a:gd name="T48" fmla="*/ 0 w 903"/>
                <a:gd name="T49" fmla="*/ 590 h 903"/>
                <a:gd name="T50" fmla="*/ 2 w 903"/>
                <a:gd name="T51" fmla="*/ 595 h 903"/>
                <a:gd name="T52" fmla="*/ 7 w 903"/>
                <a:gd name="T53" fmla="*/ 599 h 903"/>
                <a:gd name="T54" fmla="*/ 12 w 903"/>
                <a:gd name="T55" fmla="*/ 602 h 903"/>
                <a:gd name="T56" fmla="*/ 437 w 903"/>
                <a:gd name="T57" fmla="*/ 602 h 903"/>
                <a:gd name="T58" fmla="*/ 260 w 903"/>
                <a:gd name="T59" fmla="*/ 877 h 903"/>
                <a:gd name="T60" fmla="*/ 257 w 903"/>
                <a:gd name="T61" fmla="*/ 883 h 903"/>
                <a:gd name="T62" fmla="*/ 256 w 903"/>
                <a:gd name="T63" fmla="*/ 888 h 903"/>
                <a:gd name="T64" fmla="*/ 257 w 903"/>
                <a:gd name="T65" fmla="*/ 893 h 903"/>
                <a:gd name="T66" fmla="*/ 260 w 903"/>
                <a:gd name="T67" fmla="*/ 899 h 903"/>
                <a:gd name="T68" fmla="*/ 265 w 903"/>
                <a:gd name="T69" fmla="*/ 902 h 903"/>
                <a:gd name="T70" fmla="*/ 271 w 903"/>
                <a:gd name="T71" fmla="*/ 903 h 903"/>
                <a:gd name="T72" fmla="*/ 277 w 903"/>
                <a:gd name="T73" fmla="*/ 902 h 903"/>
                <a:gd name="T74" fmla="*/ 281 w 903"/>
                <a:gd name="T75" fmla="*/ 899 h 903"/>
                <a:gd name="T76" fmla="*/ 621 w 903"/>
                <a:gd name="T77" fmla="*/ 899 h 903"/>
                <a:gd name="T78" fmla="*/ 627 w 903"/>
                <a:gd name="T79" fmla="*/ 902 h 903"/>
                <a:gd name="T80" fmla="*/ 632 w 903"/>
                <a:gd name="T81" fmla="*/ 903 h 903"/>
                <a:gd name="T82" fmla="*/ 637 w 903"/>
                <a:gd name="T83" fmla="*/ 902 h 903"/>
                <a:gd name="T84" fmla="*/ 643 w 903"/>
                <a:gd name="T85" fmla="*/ 899 h 903"/>
                <a:gd name="T86" fmla="*/ 646 w 903"/>
                <a:gd name="T87" fmla="*/ 893 h 903"/>
                <a:gd name="T88" fmla="*/ 647 w 903"/>
                <a:gd name="T89" fmla="*/ 888 h 903"/>
                <a:gd name="T90" fmla="*/ 646 w 903"/>
                <a:gd name="T91" fmla="*/ 883 h 903"/>
                <a:gd name="T92" fmla="*/ 643 w 903"/>
                <a:gd name="T93" fmla="*/ 877 h 903"/>
                <a:gd name="T94" fmla="*/ 467 w 903"/>
                <a:gd name="T95" fmla="*/ 602 h 903"/>
                <a:gd name="T96" fmla="*/ 892 w 903"/>
                <a:gd name="T97" fmla="*/ 602 h 903"/>
                <a:gd name="T98" fmla="*/ 897 w 903"/>
                <a:gd name="T99" fmla="*/ 599 h 903"/>
                <a:gd name="T100" fmla="*/ 900 w 903"/>
                <a:gd name="T101" fmla="*/ 595 h 903"/>
                <a:gd name="T102" fmla="*/ 902 w 903"/>
                <a:gd name="T103" fmla="*/ 590 h 903"/>
                <a:gd name="T104" fmla="*/ 903 w 903"/>
                <a:gd name="T105" fmla="*/ 15 h 903"/>
                <a:gd name="T106" fmla="*/ 902 w 903"/>
                <a:gd name="T107" fmla="*/ 8 h 903"/>
                <a:gd name="T108" fmla="*/ 899 w 903"/>
                <a:gd name="T109" fmla="*/ 4 h 903"/>
                <a:gd name="T110" fmla="*/ 894 w 903"/>
                <a:gd name="T111" fmla="*/ 1 h 903"/>
                <a:gd name="T112" fmla="*/ 888 w 903"/>
                <a:gd name="T113" fmla="*/ 0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03" h="903">
                  <a:moveTo>
                    <a:pt x="813" y="496"/>
                  </a:moveTo>
                  <a:lnTo>
                    <a:pt x="812" y="500"/>
                  </a:lnTo>
                  <a:lnTo>
                    <a:pt x="811" y="502"/>
                  </a:lnTo>
                  <a:lnTo>
                    <a:pt x="810" y="505"/>
                  </a:lnTo>
                  <a:lnTo>
                    <a:pt x="808" y="507"/>
                  </a:lnTo>
                  <a:lnTo>
                    <a:pt x="806" y="509"/>
                  </a:lnTo>
                  <a:lnTo>
                    <a:pt x="804" y="510"/>
                  </a:lnTo>
                  <a:lnTo>
                    <a:pt x="800" y="511"/>
                  </a:lnTo>
                  <a:lnTo>
                    <a:pt x="797" y="511"/>
                  </a:lnTo>
                  <a:lnTo>
                    <a:pt x="105" y="511"/>
                  </a:lnTo>
                  <a:lnTo>
                    <a:pt x="102" y="511"/>
                  </a:lnTo>
                  <a:lnTo>
                    <a:pt x="99" y="510"/>
                  </a:lnTo>
                  <a:lnTo>
                    <a:pt x="97" y="509"/>
                  </a:lnTo>
                  <a:lnTo>
                    <a:pt x="95" y="507"/>
                  </a:lnTo>
                  <a:lnTo>
                    <a:pt x="93" y="505"/>
                  </a:lnTo>
                  <a:lnTo>
                    <a:pt x="92" y="502"/>
                  </a:lnTo>
                  <a:lnTo>
                    <a:pt x="90" y="500"/>
                  </a:lnTo>
                  <a:lnTo>
                    <a:pt x="90" y="496"/>
                  </a:lnTo>
                  <a:lnTo>
                    <a:pt x="90" y="316"/>
                  </a:lnTo>
                  <a:lnTo>
                    <a:pt x="90" y="105"/>
                  </a:lnTo>
                  <a:lnTo>
                    <a:pt x="90" y="102"/>
                  </a:lnTo>
                  <a:lnTo>
                    <a:pt x="92" y="100"/>
                  </a:lnTo>
                  <a:lnTo>
                    <a:pt x="93" y="96"/>
                  </a:lnTo>
                  <a:lnTo>
                    <a:pt x="95" y="94"/>
                  </a:lnTo>
                  <a:lnTo>
                    <a:pt x="97" y="92"/>
                  </a:lnTo>
                  <a:lnTo>
                    <a:pt x="99" y="91"/>
                  </a:lnTo>
                  <a:lnTo>
                    <a:pt x="102" y="90"/>
                  </a:lnTo>
                  <a:lnTo>
                    <a:pt x="105" y="90"/>
                  </a:lnTo>
                  <a:lnTo>
                    <a:pt x="798" y="90"/>
                  </a:lnTo>
                  <a:lnTo>
                    <a:pt x="800" y="90"/>
                  </a:lnTo>
                  <a:lnTo>
                    <a:pt x="804" y="91"/>
                  </a:lnTo>
                  <a:lnTo>
                    <a:pt x="806" y="92"/>
                  </a:lnTo>
                  <a:lnTo>
                    <a:pt x="808" y="94"/>
                  </a:lnTo>
                  <a:lnTo>
                    <a:pt x="810" y="96"/>
                  </a:lnTo>
                  <a:lnTo>
                    <a:pt x="811" y="100"/>
                  </a:lnTo>
                  <a:lnTo>
                    <a:pt x="812" y="102"/>
                  </a:lnTo>
                  <a:lnTo>
                    <a:pt x="813" y="105"/>
                  </a:lnTo>
                  <a:lnTo>
                    <a:pt x="813" y="496"/>
                  </a:lnTo>
                  <a:close/>
                  <a:moveTo>
                    <a:pt x="888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587"/>
                  </a:lnTo>
                  <a:lnTo>
                    <a:pt x="0" y="590"/>
                  </a:lnTo>
                  <a:lnTo>
                    <a:pt x="1" y="593"/>
                  </a:lnTo>
                  <a:lnTo>
                    <a:pt x="2" y="595"/>
                  </a:lnTo>
                  <a:lnTo>
                    <a:pt x="5" y="597"/>
                  </a:lnTo>
                  <a:lnTo>
                    <a:pt x="7" y="599"/>
                  </a:lnTo>
                  <a:lnTo>
                    <a:pt x="9" y="601"/>
                  </a:lnTo>
                  <a:lnTo>
                    <a:pt x="12" y="602"/>
                  </a:lnTo>
                  <a:lnTo>
                    <a:pt x="15" y="602"/>
                  </a:lnTo>
                  <a:lnTo>
                    <a:pt x="437" y="602"/>
                  </a:lnTo>
                  <a:lnTo>
                    <a:pt x="437" y="701"/>
                  </a:lnTo>
                  <a:lnTo>
                    <a:pt x="260" y="877"/>
                  </a:lnTo>
                  <a:lnTo>
                    <a:pt x="259" y="879"/>
                  </a:lnTo>
                  <a:lnTo>
                    <a:pt x="257" y="883"/>
                  </a:lnTo>
                  <a:lnTo>
                    <a:pt x="256" y="885"/>
                  </a:lnTo>
                  <a:lnTo>
                    <a:pt x="256" y="888"/>
                  </a:lnTo>
                  <a:lnTo>
                    <a:pt x="256" y="891"/>
                  </a:lnTo>
                  <a:lnTo>
                    <a:pt x="257" y="893"/>
                  </a:lnTo>
                  <a:lnTo>
                    <a:pt x="259" y="897"/>
                  </a:lnTo>
                  <a:lnTo>
                    <a:pt x="260" y="899"/>
                  </a:lnTo>
                  <a:lnTo>
                    <a:pt x="263" y="901"/>
                  </a:lnTo>
                  <a:lnTo>
                    <a:pt x="265" y="902"/>
                  </a:lnTo>
                  <a:lnTo>
                    <a:pt x="268" y="903"/>
                  </a:lnTo>
                  <a:lnTo>
                    <a:pt x="271" y="903"/>
                  </a:lnTo>
                  <a:lnTo>
                    <a:pt x="274" y="903"/>
                  </a:lnTo>
                  <a:lnTo>
                    <a:pt x="277" y="902"/>
                  </a:lnTo>
                  <a:lnTo>
                    <a:pt x="279" y="901"/>
                  </a:lnTo>
                  <a:lnTo>
                    <a:pt x="281" y="899"/>
                  </a:lnTo>
                  <a:lnTo>
                    <a:pt x="452" y="728"/>
                  </a:lnTo>
                  <a:lnTo>
                    <a:pt x="621" y="899"/>
                  </a:lnTo>
                  <a:lnTo>
                    <a:pt x="623" y="901"/>
                  </a:lnTo>
                  <a:lnTo>
                    <a:pt x="627" y="902"/>
                  </a:lnTo>
                  <a:lnTo>
                    <a:pt x="629" y="903"/>
                  </a:lnTo>
                  <a:lnTo>
                    <a:pt x="632" y="903"/>
                  </a:lnTo>
                  <a:lnTo>
                    <a:pt x="635" y="903"/>
                  </a:lnTo>
                  <a:lnTo>
                    <a:pt x="637" y="902"/>
                  </a:lnTo>
                  <a:lnTo>
                    <a:pt x="641" y="901"/>
                  </a:lnTo>
                  <a:lnTo>
                    <a:pt x="643" y="899"/>
                  </a:lnTo>
                  <a:lnTo>
                    <a:pt x="645" y="897"/>
                  </a:lnTo>
                  <a:lnTo>
                    <a:pt x="646" y="893"/>
                  </a:lnTo>
                  <a:lnTo>
                    <a:pt x="647" y="891"/>
                  </a:lnTo>
                  <a:lnTo>
                    <a:pt x="647" y="888"/>
                  </a:lnTo>
                  <a:lnTo>
                    <a:pt x="647" y="885"/>
                  </a:lnTo>
                  <a:lnTo>
                    <a:pt x="646" y="883"/>
                  </a:lnTo>
                  <a:lnTo>
                    <a:pt x="645" y="879"/>
                  </a:lnTo>
                  <a:lnTo>
                    <a:pt x="643" y="877"/>
                  </a:lnTo>
                  <a:lnTo>
                    <a:pt x="467" y="701"/>
                  </a:lnTo>
                  <a:lnTo>
                    <a:pt x="467" y="602"/>
                  </a:lnTo>
                  <a:lnTo>
                    <a:pt x="888" y="602"/>
                  </a:lnTo>
                  <a:lnTo>
                    <a:pt x="892" y="602"/>
                  </a:lnTo>
                  <a:lnTo>
                    <a:pt x="894" y="601"/>
                  </a:lnTo>
                  <a:lnTo>
                    <a:pt x="897" y="599"/>
                  </a:lnTo>
                  <a:lnTo>
                    <a:pt x="899" y="597"/>
                  </a:lnTo>
                  <a:lnTo>
                    <a:pt x="900" y="595"/>
                  </a:lnTo>
                  <a:lnTo>
                    <a:pt x="902" y="593"/>
                  </a:lnTo>
                  <a:lnTo>
                    <a:pt x="902" y="590"/>
                  </a:lnTo>
                  <a:lnTo>
                    <a:pt x="903" y="587"/>
                  </a:lnTo>
                  <a:lnTo>
                    <a:pt x="903" y="15"/>
                  </a:lnTo>
                  <a:lnTo>
                    <a:pt x="902" y="12"/>
                  </a:lnTo>
                  <a:lnTo>
                    <a:pt x="902" y="8"/>
                  </a:lnTo>
                  <a:lnTo>
                    <a:pt x="900" y="6"/>
                  </a:lnTo>
                  <a:lnTo>
                    <a:pt x="899" y="4"/>
                  </a:lnTo>
                  <a:lnTo>
                    <a:pt x="897" y="2"/>
                  </a:lnTo>
                  <a:lnTo>
                    <a:pt x="894" y="1"/>
                  </a:lnTo>
                  <a:lnTo>
                    <a:pt x="892" y="0"/>
                  </a:lnTo>
                  <a:lnTo>
                    <a:pt x="88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 566">
              <a:extLst>
                <a:ext uri="{FF2B5EF4-FFF2-40B4-BE49-F238E27FC236}">
                  <a16:creationId xmlns:a16="http://schemas.microsoft.com/office/drawing/2014/main" id="{CA3112E0-9E78-47B2-94AC-64F8ECF8D18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4225" y="4843463"/>
              <a:ext cx="200025" cy="73025"/>
            </a:xfrm>
            <a:custGeom>
              <a:avLst/>
              <a:gdLst>
                <a:gd name="T0" fmla="*/ 151 w 632"/>
                <a:gd name="T1" fmla="*/ 151 h 226"/>
                <a:gd name="T2" fmla="*/ 157 w 632"/>
                <a:gd name="T3" fmla="*/ 149 h 226"/>
                <a:gd name="T4" fmla="*/ 161 w 632"/>
                <a:gd name="T5" fmla="*/ 146 h 226"/>
                <a:gd name="T6" fmla="*/ 288 w 632"/>
                <a:gd name="T7" fmla="*/ 217 h 226"/>
                <a:gd name="T8" fmla="*/ 292 w 632"/>
                <a:gd name="T9" fmla="*/ 223 h 226"/>
                <a:gd name="T10" fmla="*/ 299 w 632"/>
                <a:gd name="T11" fmla="*/ 226 h 226"/>
                <a:gd name="T12" fmla="*/ 302 w 632"/>
                <a:gd name="T13" fmla="*/ 226 h 226"/>
                <a:gd name="T14" fmla="*/ 307 w 632"/>
                <a:gd name="T15" fmla="*/ 225 h 226"/>
                <a:gd name="T16" fmla="*/ 313 w 632"/>
                <a:gd name="T17" fmla="*/ 222 h 226"/>
                <a:gd name="T18" fmla="*/ 471 w 632"/>
                <a:gd name="T19" fmla="*/ 191 h 226"/>
                <a:gd name="T20" fmla="*/ 477 w 632"/>
                <a:gd name="T21" fmla="*/ 195 h 226"/>
                <a:gd name="T22" fmla="*/ 483 w 632"/>
                <a:gd name="T23" fmla="*/ 196 h 226"/>
                <a:gd name="T24" fmla="*/ 488 w 632"/>
                <a:gd name="T25" fmla="*/ 194 h 226"/>
                <a:gd name="T26" fmla="*/ 494 w 632"/>
                <a:gd name="T27" fmla="*/ 191 h 226"/>
                <a:gd name="T28" fmla="*/ 631 w 632"/>
                <a:gd name="T29" fmla="*/ 23 h 226"/>
                <a:gd name="T30" fmla="*/ 632 w 632"/>
                <a:gd name="T31" fmla="*/ 16 h 226"/>
                <a:gd name="T32" fmla="*/ 632 w 632"/>
                <a:gd name="T33" fmla="*/ 11 h 226"/>
                <a:gd name="T34" fmla="*/ 629 w 632"/>
                <a:gd name="T35" fmla="*/ 5 h 226"/>
                <a:gd name="T36" fmla="*/ 625 w 632"/>
                <a:gd name="T37" fmla="*/ 2 h 226"/>
                <a:gd name="T38" fmla="*/ 619 w 632"/>
                <a:gd name="T39" fmla="*/ 0 h 226"/>
                <a:gd name="T40" fmla="*/ 613 w 632"/>
                <a:gd name="T41" fmla="*/ 1 h 226"/>
                <a:gd name="T42" fmla="*/ 607 w 632"/>
                <a:gd name="T43" fmla="*/ 3 h 226"/>
                <a:gd name="T44" fmla="*/ 481 w 632"/>
                <a:gd name="T45" fmla="*/ 159 h 226"/>
                <a:gd name="T46" fmla="*/ 415 w 632"/>
                <a:gd name="T47" fmla="*/ 93 h 226"/>
                <a:gd name="T48" fmla="*/ 409 w 632"/>
                <a:gd name="T49" fmla="*/ 91 h 226"/>
                <a:gd name="T50" fmla="*/ 404 w 632"/>
                <a:gd name="T51" fmla="*/ 91 h 226"/>
                <a:gd name="T52" fmla="*/ 398 w 632"/>
                <a:gd name="T53" fmla="*/ 93 h 226"/>
                <a:gd name="T54" fmla="*/ 307 w 632"/>
                <a:gd name="T55" fmla="*/ 185 h 226"/>
                <a:gd name="T56" fmla="*/ 247 w 632"/>
                <a:gd name="T57" fmla="*/ 39 h 226"/>
                <a:gd name="T58" fmla="*/ 242 w 632"/>
                <a:gd name="T59" fmla="*/ 34 h 226"/>
                <a:gd name="T60" fmla="*/ 234 w 632"/>
                <a:gd name="T61" fmla="*/ 33 h 226"/>
                <a:gd name="T62" fmla="*/ 227 w 632"/>
                <a:gd name="T63" fmla="*/ 35 h 226"/>
                <a:gd name="T64" fmla="*/ 144 w 632"/>
                <a:gd name="T65" fmla="*/ 121 h 226"/>
                <a:gd name="T66" fmla="*/ 12 w 632"/>
                <a:gd name="T67" fmla="*/ 121 h 226"/>
                <a:gd name="T68" fmla="*/ 7 w 632"/>
                <a:gd name="T69" fmla="*/ 123 h 226"/>
                <a:gd name="T70" fmla="*/ 3 w 632"/>
                <a:gd name="T71" fmla="*/ 128 h 226"/>
                <a:gd name="T72" fmla="*/ 0 w 632"/>
                <a:gd name="T73" fmla="*/ 133 h 226"/>
                <a:gd name="T74" fmla="*/ 0 w 632"/>
                <a:gd name="T75" fmla="*/ 138 h 226"/>
                <a:gd name="T76" fmla="*/ 3 w 632"/>
                <a:gd name="T77" fmla="*/ 144 h 226"/>
                <a:gd name="T78" fmla="*/ 7 w 632"/>
                <a:gd name="T79" fmla="*/ 148 h 226"/>
                <a:gd name="T80" fmla="*/ 12 w 632"/>
                <a:gd name="T81" fmla="*/ 150 h 226"/>
                <a:gd name="T82" fmla="*/ 15 w 632"/>
                <a:gd name="T83" fmla="*/ 15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32" h="226">
                  <a:moveTo>
                    <a:pt x="15" y="151"/>
                  </a:moveTo>
                  <a:lnTo>
                    <a:pt x="151" y="151"/>
                  </a:lnTo>
                  <a:lnTo>
                    <a:pt x="154" y="150"/>
                  </a:lnTo>
                  <a:lnTo>
                    <a:pt x="157" y="149"/>
                  </a:lnTo>
                  <a:lnTo>
                    <a:pt x="159" y="148"/>
                  </a:lnTo>
                  <a:lnTo>
                    <a:pt x="161" y="146"/>
                  </a:lnTo>
                  <a:lnTo>
                    <a:pt x="230" y="75"/>
                  </a:lnTo>
                  <a:lnTo>
                    <a:pt x="288" y="217"/>
                  </a:lnTo>
                  <a:lnTo>
                    <a:pt x="289" y="220"/>
                  </a:lnTo>
                  <a:lnTo>
                    <a:pt x="292" y="223"/>
                  </a:lnTo>
                  <a:lnTo>
                    <a:pt x="294" y="224"/>
                  </a:lnTo>
                  <a:lnTo>
                    <a:pt x="299" y="226"/>
                  </a:lnTo>
                  <a:lnTo>
                    <a:pt x="300" y="226"/>
                  </a:lnTo>
                  <a:lnTo>
                    <a:pt x="302" y="226"/>
                  </a:lnTo>
                  <a:lnTo>
                    <a:pt x="304" y="226"/>
                  </a:lnTo>
                  <a:lnTo>
                    <a:pt x="307" y="225"/>
                  </a:lnTo>
                  <a:lnTo>
                    <a:pt x="309" y="223"/>
                  </a:lnTo>
                  <a:lnTo>
                    <a:pt x="313" y="222"/>
                  </a:lnTo>
                  <a:lnTo>
                    <a:pt x="407" y="127"/>
                  </a:lnTo>
                  <a:lnTo>
                    <a:pt x="471" y="191"/>
                  </a:lnTo>
                  <a:lnTo>
                    <a:pt x="473" y="193"/>
                  </a:lnTo>
                  <a:lnTo>
                    <a:pt x="477" y="195"/>
                  </a:lnTo>
                  <a:lnTo>
                    <a:pt x="480" y="196"/>
                  </a:lnTo>
                  <a:lnTo>
                    <a:pt x="483" y="196"/>
                  </a:lnTo>
                  <a:lnTo>
                    <a:pt x="486" y="195"/>
                  </a:lnTo>
                  <a:lnTo>
                    <a:pt x="488" y="194"/>
                  </a:lnTo>
                  <a:lnTo>
                    <a:pt x="492" y="193"/>
                  </a:lnTo>
                  <a:lnTo>
                    <a:pt x="494" y="191"/>
                  </a:lnTo>
                  <a:lnTo>
                    <a:pt x="629" y="25"/>
                  </a:lnTo>
                  <a:lnTo>
                    <a:pt x="631" y="23"/>
                  </a:lnTo>
                  <a:lnTo>
                    <a:pt x="632" y="19"/>
                  </a:lnTo>
                  <a:lnTo>
                    <a:pt x="632" y="16"/>
                  </a:lnTo>
                  <a:lnTo>
                    <a:pt x="632" y="14"/>
                  </a:lnTo>
                  <a:lnTo>
                    <a:pt x="632" y="11"/>
                  </a:lnTo>
                  <a:lnTo>
                    <a:pt x="631" y="9"/>
                  </a:lnTo>
                  <a:lnTo>
                    <a:pt x="629" y="5"/>
                  </a:lnTo>
                  <a:lnTo>
                    <a:pt x="627" y="3"/>
                  </a:lnTo>
                  <a:lnTo>
                    <a:pt x="625" y="2"/>
                  </a:lnTo>
                  <a:lnTo>
                    <a:pt x="621" y="1"/>
                  </a:lnTo>
                  <a:lnTo>
                    <a:pt x="619" y="0"/>
                  </a:lnTo>
                  <a:lnTo>
                    <a:pt x="616" y="0"/>
                  </a:lnTo>
                  <a:lnTo>
                    <a:pt x="613" y="1"/>
                  </a:lnTo>
                  <a:lnTo>
                    <a:pt x="611" y="2"/>
                  </a:lnTo>
                  <a:lnTo>
                    <a:pt x="607" y="3"/>
                  </a:lnTo>
                  <a:lnTo>
                    <a:pt x="605" y="5"/>
                  </a:lnTo>
                  <a:lnTo>
                    <a:pt x="481" y="159"/>
                  </a:lnTo>
                  <a:lnTo>
                    <a:pt x="418" y="95"/>
                  </a:lnTo>
                  <a:lnTo>
                    <a:pt x="415" y="93"/>
                  </a:lnTo>
                  <a:lnTo>
                    <a:pt x="412" y="91"/>
                  </a:lnTo>
                  <a:lnTo>
                    <a:pt x="409" y="91"/>
                  </a:lnTo>
                  <a:lnTo>
                    <a:pt x="407" y="90"/>
                  </a:lnTo>
                  <a:lnTo>
                    <a:pt x="404" y="91"/>
                  </a:lnTo>
                  <a:lnTo>
                    <a:pt x="400" y="91"/>
                  </a:lnTo>
                  <a:lnTo>
                    <a:pt x="398" y="93"/>
                  </a:lnTo>
                  <a:lnTo>
                    <a:pt x="396" y="95"/>
                  </a:lnTo>
                  <a:lnTo>
                    <a:pt x="307" y="185"/>
                  </a:lnTo>
                  <a:lnTo>
                    <a:pt x="249" y="42"/>
                  </a:lnTo>
                  <a:lnTo>
                    <a:pt x="247" y="39"/>
                  </a:lnTo>
                  <a:lnTo>
                    <a:pt x="244" y="36"/>
                  </a:lnTo>
                  <a:lnTo>
                    <a:pt x="242" y="34"/>
                  </a:lnTo>
                  <a:lnTo>
                    <a:pt x="237" y="33"/>
                  </a:lnTo>
                  <a:lnTo>
                    <a:pt x="234" y="33"/>
                  </a:lnTo>
                  <a:lnTo>
                    <a:pt x="230" y="33"/>
                  </a:lnTo>
                  <a:lnTo>
                    <a:pt x="227" y="35"/>
                  </a:lnTo>
                  <a:lnTo>
                    <a:pt x="224" y="38"/>
                  </a:lnTo>
                  <a:lnTo>
                    <a:pt x="144" y="121"/>
                  </a:lnTo>
                  <a:lnTo>
                    <a:pt x="15" y="121"/>
                  </a:lnTo>
                  <a:lnTo>
                    <a:pt x="12" y="121"/>
                  </a:lnTo>
                  <a:lnTo>
                    <a:pt x="9" y="122"/>
                  </a:lnTo>
                  <a:lnTo>
                    <a:pt x="7" y="123"/>
                  </a:lnTo>
                  <a:lnTo>
                    <a:pt x="5" y="126"/>
                  </a:lnTo>
                  <a:lnTo>
                    <a:pt x="3" y="128"/>
                  </a:lnTo>
                  <a:lnTo>
                    <a:pt x="2" y="130"/>
                  </a:lnTo>
                  <a:lnTo>
                    <a:pt x="0" y="133"/>
                  </a:lnTo>
                  <a:lnTo>
                    <a:pt x="0" y="136"/>
                  </a:lnTo>
                  <a:lnTo>
                    <a:pt x="0" y="138"/>
                  </a:lnTo>
                  <a:lnTo>
                    <a:pt x="2" y="142"/>
                  </a:lnTo>
                  <a:lnTo>
                    <a:pt x="3" y="144"/>
                  </a:lnTo>
                  <a:lnTo>
                    <a:pt x="5" y="146"/>
                  </a:lnTo>
                  <a:lnTo>
                    <a:pt x="7" y="148"/>
                  </a:lnTo>
                  <a:lnTo>
                    <a:pt x="9" y="150"/>
                  </a:lnTo>
                  <a:lnTo>
                    <a:pt x="12" y="150"/>
                  </a:lnTo>
                  <a:lnTo>
                    <a:pt x="15" y="151"/>
                  </a:lnTo>
                  <a:lnTo>
                    <a:pt x="15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9747132C-BD1B-4733-B97A-F661D3373657}"/>
              </a:ext>
            </a:extLst>
          </p:cNvPr>
          <p:cNvGrpSpPr/>
          <p:nvPr/>
        </p:nvGrpSpPr>
        <p:grpSpPr>
          <a:xfrm>
            <a:off x="7651530" y="4454792"/>
            <a:ext cx="287338" cy="277813"/>
            <a:chOff x="4903788" y="788988"/>
            <a:chExt cx="287338" cy="277813"/>
          </a:xfrm>
          <a:gradFill>
            <a:gsLst>
              <a:gs pos="0">
                <a:srgbClr val="0683B8"/>
              </a:gs>
              <a:gs pos="100000">
                <a:srgbClr val="7030A0"/>
              </a:gs>
            </a:gsLst>
            <a:lin ang="18900000" scaled="1"/>
          </a:gradFill>
        </p:grpSpPr>
        <p:sp>
          <p:nvSpPr>
            <p:cNvPr id="67" name="Freeform 1458">
              <a:extLst>
                <a:ext uri="{FF2B5EF4-FFF2-40B4-BE49-F238E27FC236}">
                  <a16:creationId xmlns:a16="http://schemas.microsoft.com/office/drawing/2014/main" id="{5C252B01-A6B9-4A6D-B0B7-CAF3269146E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3788" y="788988"/>
              <a:ext cx="287338" cy="200025"/>
            </a:xfrm>
            <a:custGeom>
              <a:avLst/>
              <a:gdLst>
                <a:gd name="T0" fmla="*/ 59 w 904"/>
                <a:gd name="T1" fmla="*/ 0 h 634"/>
                <a:gd name="T2" fmla="*/ 47 w 904"/>
                <a:gd name="T3" fmla="*/ 2 h 634"/>
                <a:gd name="T4" fmla="*/ 36 w 904"/>
                <a:gd name="T5" fmla="*/ 5 h 634"/>
                <a:gd name="T6" fmla="*/ 26 w 904"/>
                <a:gd name="T7" fmla="*/ 11 h 634"/>
                <a:gd name="T8" fmla="*/ 17 w 904"/>
                <a:gd name="T9" fmla="*/ 19 h 634"/>
                <a:gd name="T10" fmla="*/ 9 w 904"/>
                <a:gd name="T11" fmla="*/ 27 h 634"/>
                <a:gd name="T12" fmla="*/ 4 w 904"/>
                <a:gd name="T13" fmla="*/ 37 h 634"/>
                <a:gd name="T14" fmla="*/ 1 w 904"/>
                <a:gd name="T15" fmla="*/ 48 h 634"/>
                <a:gd name="T16" fmla="*/ 0 w 904"/>
                <a:gd name="T17" fmla="*/ 61 h 634"/>
                <a:gd name="T18" fmla="*/ 0 w 904"/>
                <a:gd name="T19" fmla="*/ 579 h 634"/>
                <a:gd name="T20" fmla="*/ 2 w 904"/>
                <a:gd name="T21" fmla="*/ 592 h 634"/>
                <a:gd name="T22" fmla="*/ 6 w 904"/>
                <a:gd name="T23" fmla="*/ 603 h 634"/>
                <a:gd name="T24" fmla="*/ 13 w 904"/>
                <a:gd name="T25" fmla="*/ 613 h 634"/>
                <a:gd name="T26" fmla="*/ 22 w 904"/>
                <a:gd name="T27" fmla="*/ 620 h 634"/>
                <a:gd name="T28" fmla="*/ 30 w 904"/>
                <a:gd name="T29" fmla="*/ 627 h 634"/>
                <a:gd name="T30" fmla="*/ 42 w 904"/>
                <a:gd name="T31" fmla="*/ 631 h 634"/>
                <a:gd name="T32" fmla="*/ 54 w 904"/>
                <a:gd name="T33" fmla="*/ 634 h 634"/>
                <a:gd name="T34" fmla="*/ 391 w 904"/>
                <a:gd name="T35" fmla="*/ 634 h 634"/>
                <a:gd name="T36" fmla="*/ 59 w 904"/>
                <a:gd name="T37" fmla="*/ 574 h 634"/>
                <a:gd name="T38" fmla="*/ 845 w 904"/>
                <a:gd name="T39" fmla="*/ 61 h 634"/>
                <a:gd name="T40" fmla="*/ 723 w 904"/>
                <a:gd name="T41" fmla="*/ 574 h 634"/>
                <a:gd name="T42" fmla="*/ 845 w 904"/>
                <a:gd name="T43" fmla="*/ 634 h 634"/>
                <a:gd name="T44" fmla="*/ 857 w 904"/>
                <a:gd name="T45" fmla="*/ 633 h 634"/>
                <a:gd name="T46" fmla="*/ 868 w 904"/>
                <a:gd name="T47" fmla="*/ 629 h 634"/>
                <a:gd name="T48" fmla="*/ 878 w 904"/>
                <a:gd name="T49" fmla="*/ 624 h 634"/>
                <a:gd name="T50" fmla="*/ 887 w 904"/>
                <a:gd name="T51" fmla="*/ 616 h 634"/>
                <a:gd name="T52" fmla="*/ 894 w 904"/>
                <a:gd name="T53" fmla="*/ 607 h 634"/>
                <a:gd name="T54" fmla="*/ 900 w 904"/>
                <a:gd name="T55" fmla="*/ 597 h 634"/>
                <a:gd name="T56" fmla="*/ 903 w 904"/>
                <a:gd name="T57" fmla="*/ 586 h 634"/>
                <a:gd name="T58" fmla="*/ 904 w 904"/>
                <a:gd name="T59" fmla="*/ 574 h 634"/>
                <a:gd name="T60" fmla="*/ 904 w 904"/>
                <a:gd name="T61" fmla="*/ 55 h 634"/>
                <a:gd name="T62" fmla="*/ 902 w 904"/>
                <a:gd name="T63" fmla="*/ 43 h 634"/>
                <a:gd name="T64" fmla="*/ 898 w 904"/>
                <a:gd name="T65" fmla="*/ 32 h 634"/>
                <a:gd name="T66" fmla="*/ 891 w 904"/>
                <a:gd name="T67" fmla="*/ 22 h 634"/>
                <a:gd name="T68" fmla="*/ 882 w 904"/>
                <a:gd name="T69" fmla="*/ 14 h 634"/>
                <a:gd name="T70" fmla="*/ 873 w 904"/>
                <a:gd name="T71" fmla="*/ 7 h 634"/>
                <a:gd name="T72" fmla="*/ 862 w 904"/>
                <a:gd name="T73" fmla="*/ 3 h 634"/>
                <a:gd name="T74" fmla="*/ 850 w 904"/>
                <a:gd name="T75" fmla="*/ 1 h 634"/>
                <a:gd name="T76" fmla="*/ 845 w 904"/>
                <a:gd name="T77" fmla="*/ 0 h 6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04" h="634">
                  <a:moveTo>
                    <a:pt x="845" y="0"/>
                  </a:moveTo>
                  <a:lnTo>
                    <a:pt x="59" y="0"/>
                  </a:lnTo>
                  <a:lnTo>
                    <a:pt x="54" y="1"/>
                  </a:lnTo>
                  <a:lnTo>
                    <a:pt x="47" y="2"/>
                  </a:lnTo>
                  <a:lnTo>
                    <a:pt x="42" y="3"/>
                  </a:lnTo>
                  <a:lnTo>
                    <a:pt x="36" y="5"/>
                  </a:lnTo>
                  <a:lnTo>
                    <a:pt x="30" y="7"/>
                  </a:lnTo>
                  <a:lnTo>
                    <a:pt x="26" y="11"/>
                  </a:lnTo>
                  <a:lnTo>
                    <a:pt x="22" y="14"/>
                  </a:lnTo>
                  <a:lnTo>
                    <a:pt x="17" y="19"/>
                  </a:lnTo>
                  <a:lnTo>
                    <a:pt x="13" y="22"/>
                  </a:lnTo>
                  <a:lnTo>
                    <a:pt x="9" y="27"/>
                  </a:lnTo>
                  <a:lnTo>
                    <a:pt x="6" y="32"/>
                  </a:lnTo>
                  <a:lnTo>
                    <a:pt x="4" y="37"/>
                  </a:lnTo>
                  <a:lnTo>
                    <a:pt x="2" y="43"/>
                  </a:lnTo>
                  <a:lnTo>
                    <a:pt x="1" y="48"/>
                  </a:lnTo>
                  <a:lnTo>
                    <a:pt x="0" y="55"/>
                  </a:lnTo>
                  <a:lnTo>
                    <a:pt x="0" y="61"/>
                  </a:lnTo>
                  <a:lnTo>
                    <a:pt x="0" y="574"/>
                  </a:lnTo>
                  <a:lnTo>
                    <a:pt x="0" y="579"/>
                  </a:lnTo>
                  <a:lnTo>
                    <a:pt x="1" y="586"/>
                  </a:lnTo>
                  <a:lnTo>
                    <a:pt x="2" y="592"/>
                  </a:lnTo>
                  <a:lnTo>
                    <a:pt x="4" y="597"/>
                  </a:lnTo>
                  <a:lnTo>
                    <a:pt x="6" y="603"/>
                  </a:lnTo>
                  <a:lnTo>
                    <a:pt x="9" y="607"/>
                  </a:lnTo>
                  <a:lnTo>
                    <a:pt x="13" y="613"/>
                  </a:lnTo>
                  <a:lnTo>
                    <a:pt x="17" y="616"/>
                  </a:lnTo>
                  <a:lnTo>
                    <a:pt x="22" y="620"/>
                  </a:lnTo>
                  <a:lnTo>
                    <a:pt x="26" y="624"/>
                  </a:lnTo>
                  <a:lnTo>
                    <a:pt x="30" y="627"/>
                  </a:lnTo>
                  <a:lnTo>
                    <a:pt x="36" y="629"/>
                  </a:lnTo>
                  <a:lnTo>
                    <a:pt x="42" y="631"/>
                  </a:lnTo>
                  <a:lnTo>
                    <a:pt x="47" y="633"/>
                  </a:lnTo>
                  <a:lnTo>
                    <a:pt x="54" y="634"/>
                  </a:lnTo>
                  <a:lnTo>
                    <a:pt x="59" y="634"/>
                  </a:lnTo>
                  <a:lnTo>
                    <a:pt x="391" y="634"/>
                  </a:lnTo>
                  <a:lnTo>
                    <a:pt x="391" y="574"/>
                  </a:lnTo>
                  <a:lnTo>
                    <a:pt x="59" y="574"/>
                  </a:lnTo>
                  <a:lnTo>
                    <a:pt x="59" y="61"/>
                  </a:lnTo>
                  <a:lnTo>
                    <a:pt x="845" y="61"/>
                  </a:lnTo>
                  <a:lnTo>
                    <a:pt x="845" y="574"/>
                  </a:lnTo>
                  <a:lnTo>
                    <a:pt x="723" y="574"/>
                  </a:lnTo>
                  <a:lnTo>
                    <a:pt x="723" y="634"/>
                  </a:lnTo>
                  <a:lnTo>
                    <a:pt x="845" y="634"/>
                  </a:lnTo>
                  <a:lnTo>
                    <a:pt x="850" y="634"/>
                  </a:lnTo>
                  <a:lnTo>
                    <a:pt x="857" y="633"/>
                  </a:lnTo>
                  <a:lnTo>
                    <a:pt x="862" y="631"/>
                  </a:lnTo>
                  <a:lnTo>
                    <a:pt x="868" y="629"/>
                  </a:lnTo>
                  <a:lnTo>
                    <a:pt x="873" y="627"/>
                  </a:lnTo>
                  <a:lnTo>
                    <a:pt x="878" y="624"/>
                  </a:lnTo>
                  <a:lnTo>
                    <a:pt x="882" y="620"/>
                  </a:lnTo>
                  <a:lnTo>
                    <a:pt x="887" y="616"/>
                  </a:lnTo>
                  <a:lnTo>
                    <a:pt x="891" y="613"/>
                  </a:lnTo>
                  <a:lnTo>
                    <a:pt x="894" y="607"/>
                  </a:lnTo>
                  <a:lnTo>
                    <a:pt x="898" y="603"/>
                  </a:lnTo>
                  <a:lnTo>
                    <a:pt x="900" y="597"/>
                  </a:lnTo>
                  <a:lnTo>
                    <a:pt x="902" y="592"/>
                  </a:lnTo>
                  <a:lnTo>
                    <a:pt x="903" y="586"/>
                  </a:lnTo>
                  <a:lnTo>
                    <a:pt x="904" y="579"/>
                  </a:lnTo>
                  <a:lnTo>
                    <a:pt x="904" y="574"/>
                  </a:lnTo>
                  <a:lnTo>
                    <a:pt x="904" y="61"/>
                  </a:lnTo>
                  <a:lnTo>
                    <a:pt x="904" y="55"/>
                  </a:lnTo>
                  <a:lnTo>
                    <a:pt x="903" y="48"/>
                  </a:lnTo>
                  <a:lnTo>
                    <a:pt x="902" y="43"/>
                  </a:lnTo>
                  <a:lnTo>
                    <a:pt x="900" y="37"/>
                  </a:lnTo>
                  <a:lnTo>
                    <a:pt x="898" y="32"/>
                  </a:lnTo>
                  <a:lnTo>
                    <a:pt x="894" y="27"/>
                  </a:lnTo>
                  <a:lnTo>
                    <a:pt x="891" y="22"/>
                  </a:lnTo>
                  <a:lnTo>
                    <a:pt x="887" y="19"/>
                  </a:lnTo>
                  <a:lnTo>
                    <a:pt x="882" y="14"/>
                  </a:lnTo>
                  <a:lnTo>
                    <a:pt x="878" y="11"/>
                  </a:lnTo>
                  <a:lnTo>
                    <a:pt x="873" y="7"/>
                  </a:lnTo>
                  <a:lnTo>
                    <a:pt x="868" y="5"/>
                  </a:lnTo>
                  <a:lnTo>
                    <a:pt x="862" y="3"/>
                  </a:lnTo>
                  <a:lnTo>
                    <a:pt x="857" y="2"/>
                  </a:lnTo>
                  <a:lnTo>
                    <a:pt x="850" y="1"/>
                  </a:lnTo>
                  <a:lnTo>
                    <a:pt x="845" y="1"/>
                  </a:lnTo>
                  <a:lnTo>
                    <a:pt x="8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 1459">
              <a:extLst>
                <a:ext uri="{FF2B5EF4-FFF2-40B4-BE49-F238E27FC236}">
                  <a16:creationId xmlns:a16="http://schemas.microsoft.com/office/drawing/2014/main" id="{FEA63DE6-EF8C-498C-8CEE-AD6541573E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7138" y="931863"/>
              <a:ext cx="87313" cy="134938"/>
            </a:xfrm>
            <a:custGeom>
              <a:avLst/>
              <a:gdLst>
                <a:gd name="T0" fmla="*/ 85 w 271"/>
                <a:gd name="T1" fmla="*/ 276 h 423"/>
                <a:gd name="T2" fmla="*/ 90 w 271"/>
                <a:gd name="T3" fmla="*/ 290 h 423"/>
                <a:gd name="T4" fmla="*/ 81 w 271"/>
                <a:gd name="T5" fmla="*/ 301 h 423"/>
                <a:gd name="T6" fmla="*/ 66 w 271"/>
                <a:gd name="T7" fmla="*/ 299 h 423"/>
                <a:gd name="T8" fmla="*/ 60 w 271"/>
                <a:gd name="T9" fmla="*/ 287 h 423"/>
                <a:gd name="T10" fmla="*/ 66 w 271"/>
                <a:gd name="T11" fmla="*/ 275 h 423"/>
                <a:gd name="T12" fmla="*/ 75 w 271"/>
                <a:gd name="T13" fmla="*/ 181 h 423"/>
                <a:gd name="T14" fmla="*/ 87 w 271"/>
                <a:gd name="T15" fmla="*/ 187 h 423"/>
                <a:gd name="T16" fmla="*/ 89 w 271"/>
                <a:gd name="T17" fmla="*/ 202 h 423"/>
                <a:gd name="T18" fmla="*/ 79 w 271"/>
                <a:gd name="T19" fmla="*/ 210 h 423"/>
                <a:gd name="T20" fmla="*/ 64 w 271"/>
                <a:gd name="T21" fmla="*/ 207 h 423"/>
                <a:gd name="T22" fmla="*/ 60 w 271"/>
                <a:gd name="T23" fmla="*/ 193 h 423"/>
                <a:gd name="T24" fmla="*/ 70 w 271"/>
                <a:gd name="T25" fmla="*/ 183 h 423"/>
                <a:gd name="T26" fmla="*/ 81 w 271"/>
                <a:gd name="T27" fmla="*/ 92 h 423"/>
                <a:gd name="T28" fmla="*/ 90 w 271"/>
                <a:gd name="T29" fmla="*/ 103 h 423"/>
                <a:gd name="T30" fmla="*/ 85 w 271"/>
                <a:gd name="T31" fmla="*/ 116 h 423"/>
                <a:gd name="T32" fmla="*/ 72 w 271"/>
                <a:gd name="T33" fmla="*/ 121 h 423"/>
                <a:gd name="T34" fmla="*/ 61 w 271"/>
                <a:gd name="T35" fmla="*/ 112 h 423"/>
                <a:gd name="T36" fmla="*/ 63 w 271"/>
                <a:gd name="T37" fmla="*/ 98 h 423"/>
                <a:gd name="T38" fmla="*/ 75 w 271"/>
                <a:gd name="T39" fmla="*/ 91 h 423"/>
                <a:gd name="T40" fmla="*/ 144 w 271"/>
                <a:gd name="T41" fmla="*/ 275 h 423"/>
                <a:gd name="T42" fmla="*/ 150 w 271"/>
                <a:gd name="T43" fmla="*/ 287 h 423"/>
                <a:gd name="T44" fmla="*/ 144 w 271"/>
                <a:gd name="T45" fmla="*/ 299 h 423"/>
                <a:gd name="T46" fmla="*/ 129 w 271"/>
                <a:gd name="T47" fmla="*/ 300 h 423"/>
                <a:gd name="T48" fmla="*/ 121 w 271"/>
                <a:gd name="T49" fmla="*/ 290 h 423"/>
                <a:gd name="T50" fmla="*/ 125 w 271"/>
                <a:gd name="T51" fmla="*/ 276 h 423"/>
                <a:gd name="T52" fmla="*/ 135 w 271"/>
                <a:gd name="T53" fmla="*/ 271 h 423"/>
                <a:gd name="T54" fmla="*/ 146 w 271"/>
                <a:gd name="T55" fmla="*/ 185 h 423"/>
                <a:gd name="T56" fmla="*/ 150 w 271"/>
                <a:gd name="T57" fmla="*/ 199 h 423"/>
                <a:gd name="T58" fmla="*/ 142 w 271"/>
                <a:gd name="T59" fmla="*/ 210 h 423"/>
                <a:gd name="T60" fmla="*/ 127 w 271"/>
                <a:gd name="T61" fmla="*/ 208 h 423"/>
                <a:gd name="T62" fmla="*/ 121 w 271"/>
                <a:gd name="T63" fmla="*/ 196 h 423"/>
                <a:gd name="T64" fmla="*/ 127 w 271"/>
                <a:gd name="T65" fmla="*/ 184 h 423"/>
                <a:gd name="T66" fmla="*/ 138 w 271"/>
                <a:gd name="T67" fmla="*/ 91 h 423"/>
                <a:gd name="T68" fmla="*/ 149 w 271"/>
                <a:gd name="T69" fmla="*/ 100 h 423"/>
                <a:gd name="T70" fmla="*/ 148 w 271"/>
                <a:gd name="T71" fmla="*/ 114 h 423"/>
                <a:gd name="T72" fmla="*/ 135 w 271"/>
                <a:gd name="T73" fmla="*/ 121 h 423"/>
                <a:gd name="T74" fmla="*/ 123 w 271"/>
                <a:gd name="T75" fmla="*/ 114 h 423"/>
                <a:gd name="T76" fmla="*/ 122 w 271"/>
                <a:gd name="T77" fmla="*/ 100 h 423"/>
                <a:gd name="T78" fmla="*/ 133 w 271"/>
                <a:gd name="T79" fmla="*/ 91 h 423"/>
                <a:gd name="T80" fmla="*/ 201 w 271"/>
                <a:gd name="T81" fmla="*/ 272 h 423"/>
                <a:gd name="T82" fmla="*/ 210 w 271"/>
                <a:gd name="T83" fmla="*/ 283 h 423"/>
                <a:gd name="T84" fmla="*/ 207 w 271"/>
                <a:gd name="T85" fmla="*/ 298 h 423"/>
                <a:gd name="T86" fmla="*/ 192 w 271"/>
                <a:gd name="T87" fmla="*/ 301 h 423"/>
                <a:gd name="T88" fmla="*/ 181 w 271"/>
                <a:gd name="T89" fmla="*/ 292 h 423"/>
                <a:gd name="T90" fmla="*/ 184 w 271"/>
                <a:gd name="T91" fmla="*/ 278 h 423"/>
                <a:gd name="T92" fmla="*/ 196 w 271"/>
                <a:gd name="T93" fmla="*/ 271 h 423"/>
                <a:gd name="T94" fmla="*/ 205 w 271"/>
                <a:gd name="T95" fmla="*/ 184 h 423"/>
                <a:gd name="T96" fmla="*/ 211 w 271"/>
                <a:gd name="T97" fmla="*/ 196 h 423"/>
                <a:gd name="T98" fmla="*/ 205 w 271"/>
                <a:gd name="T99" fmla="*/ 208 h 423"/>
                <a:gd name="T100" fmla="*/ 190 w 271"/>
                <a:gd name="T101" fmla="*/ 210 h 423"/>
                <a:gd name="T102" fmla="*/ 181 w 271"/>
                <a:gd name="T103" fmla="*/ 199 h 423"/>
                <a:gd name="T104" fmla="*/ 185 w 271"/>
                <a:gd name="T105" fmla="*/ 185 h 423"/>
                <a:gd name="T106" fmla="*/ 196 w 271"/>
                <a:gd name="T107" fmla="*/ 91 h 423"/>
                <a:gd name="T108" fmla="*/ 208 w 271"/>
                <a:gd name="T109" fmla="*/ 98 h 423"/>
                <a:gd name="T110" fmla="*/ 210 w 271"/>
                <a:gd name="T111" fmla="*/ 112 h 423"/>
                <a:gd name="T112" fmla="*/ 199 w 271"/>
                <a:gd name="T113" fmla="*/ 121 h 423"/>
                <a:gd name="T114" fmla="*/ 185 w 271"/>
                <a:gd name="T115" fmla="*/ 116 h 423"/>
                <a:gd name="T116" fmla="*/ 181 w 271"/>
                <a:gd name="T117" fmla="*/ 102 h 423"/>
                <a:gd name="T118" fmla="*/ 190 w 271"/>
                <a:gd name="T119" fmla="*/ 92 h 423"/>
                <a:gd name="T120" fmla="*/ 271 w 271"/>
                <a:gd name="T121" fmla="*/ 423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1" h="423">
                  <a:moveTo>
                    <a:pt x="75" y="271"/>
                  </a:moveTo>
                  <a:lnTo>
                    <a:pt x="79" y="271"/>
                  </a:lnTo>
                  <a:lnTo>
                    <a:pt x="81" y="272"/>
                  </a:lnTo>
                  <a:lnTo>
                    <a:pt x="83" y="275"/>
                  </a:lnTo>
                  <a:lnTo>
                    <a:pt x="85" y="276"/>
                  </a:lnTo>
                  <a:lnTo>
                    <a:pt x="87" y="278"/>
                  </a:lnTo>
                  <a:lnTo>
                    <a:pt x="89" y="281"/>
                  </a:lnTo>
                  <a:lnTo>
                    <a:pt x="90" y="283"/>
                  </a:lnTo>
                  <a:lnTo>
                    <a:pt x="91" y="287"/>
                  </a:lnTo>
                  <a:lnTo>
                    <a:pt x="90" y="290"/>
                  </a:lnTo>
                  <a:lnTo>
                    <a:pt x="89" y="292"/>
                  </a:lnTo>
                  <a:lnTo>
                    <a:pt x="87" y="296"/>
                  </a:lnTo>
                  <a:lnTo>
                    <a:pt x="85" y="298"/>
                  </a:lnTo>
                  <a:lnTo>
                    <a:pt x="83" y="299"/>
                  </a:lnTo>
                  <a:lnTo>
                    <a:pt x="81" y="301"/>
                  </a:lnTo>
                  <a:lnTo>
                    <a:pt x="79" y="301"/>
                  </a:lnTo>
                  <a:lnTo>
                    <a:pt x="75" y="302"/>
                  </a:lnTo>
                  <a:lnTo>
                    <a:pt x="72" y="301"/>
                  </a:lnTo>
                  <a:lnTo>
                    <a:pt x="70" y="300"/>
                  </a:lnTo>
                  <a:lnTo>
                    <a:pt x="66" y="299"/>
                  </a:lnTo>
                  <a:lnTo>
                    <a:pt x="64" y="298"/>
                  </a:lnTo>
                  <a:lnTo>
                    <a:pt x="63" y="296"/>
                  </a:lnTo>
                  <a:lnTo>
                    <a:pt x="61" y="292"/>
                  </a:lnTo>
                  <a:lnTo>
                    <a:pt x="60" y="290"/>
                  </a:lnTo>
                  <a:lnTo>
                    <a:pt x="60" y="287"/>
                  </a:lnTo>
                  <a:lnTo>
                    <a:pt x="60" y="283"/>
                  </a:lnTo>
                  <a:lnTo>
                    <a:pt x="61" y="281"/>
                  </a:lnTo>
                  <a:lnTo>
                    <a:pt x="63" y="278"/>
                  </a:lnTo>
                  <a:lnTo>
                    <a:pt x="64" y="276"/>
                  </a:lnTo>
                  <a:lnTo>
                    <a:pt x="66" y="275"/>
                  </a:lnTo>
                  <a:lnTo>
                    <a:pt x="70" y="272"/>
                  </a:lnTo>
                  <a:lnTo>
                    <a:pt x="72" y="272"/>
                  </a:lnTo>
                  <a:lnTo>
                    <a:pt x="75" y="271"/>
                  </a:lnTo>
                  <a:lnTo>
                    <a:pt x="75" y="271"/>
                  </a:lnTo>
                  <a:close/>
                  <a:moveTo>
                    <a:pt x="75" y="181"/>
                  </a:moveTo>
                  <a:lnTo>
                    <a:pt x="79" y="182"/>
                  </a:lnTo>
                  <a:lnTo>
                    <a:pt x="81" y="183"/>
                  </a:lnTo>
                  <a:lnTo>
                    <a:pt x="83" y="184"/>
                  </a:lnTo>
                  <a:lnTo>
                    <a:pt x="85" y="185"/>
                  </a:lnTo>
                  <a:lnTo>
                    <a:pt x="87" y="187"/>
                  </a:lnTo>
                  <a:lnTo>
                    <a:pt x="89" y="191"/>
                  </a:lnTo>
                  <a:lnTo>
                    <a:pt x="90" y="193"/>
                  </a:lnTo>
                  <a:lnTo>
                    <a:pt x="91" y="196"/>
                  </a:lnTo>
                  <a:lnTo>
                    <a:pt x="90" y="199"/>
                  </a:lnTo>
                  <a:lnTo>
                    <a:pt x="89" y="202"/>
                  </a:lnTo>
                  <a:lnTo>
                    <a:pt x="87" y="205"/>
                  </a:lnTo>
                  <a:lnTo>
                    <a:pt x="85" y="207"/>
                  </a:lnTo>
                  <a:lnTo>
                    <a:pt x="83" y="208"/>
                  </a:lnTo>
                  <a:lnTo>
                    <a:pt x="81" y="210"/>
                  </a:lnTo>
                  <a:lnTo>
                    <a:pt x="79" y="210"/>
                  </a:lnTo>
                  <a:lnTo>
                    <a:pt x="75" y="212"/>
                  </a:lnTo>
                  <a:lnTo>
                    <a:pt x="72" y="210"/>
                  </a:lnTo>
                  <a:lnTo>
                    <a:pt x="70" y="210"/>
                  </a:lnTo>
                  <a:lnTo>
                    <a:pt x="66" y="208"/>
                  </a:lnTo>
                  <a:lnTo>
                    <a:pt x="64" y="207"/>
                  </a:lnTo>
                  <a:lnTo>
                    <a:pt x="63" y="205"/>
                  </a:lnTo>
                  <a:lnTo>
                    <a:pt x="61" y="202"/>
                  </a:lnTo>
                  <a:lnTo>
                    <a:pt x="60" y="199"/>
                  </a:lnTo>
                  <a:lnTo>
                    <a:pt x="60" y="196"/>
                  </a:lnTo>
                  <a:lnTo>
                    <a:pt x="60" y="193"/>
                  </a:lnTo>
                  <a:lnTo>
                    <a:pt x="61" y="191"/>
                  </a:lnTo>
                  <a:lnTo>
                    <a:pt x="63" y="187"/>
                  </a:lnTo>
                  <a:lnTo>
                    <a:pt x="64" y="185"/>
                  </a:lnTo>
                  <a:lnTo>
                    <a:pt x="66" y="184"/>
                  </a:lnTo>
                  <a:lnTo>
                    <a:pt x="70" y="183"/>
                  </a:lnTo>
                  <a:lnTo>
                    <a:pt x="72" y="182"/>
                  </a:lnTo>
                  <a:lnTo>
                    <a:pt x="75" y="181"/>
                  </a:lnTo>
                  <a:close/>
                  <a:moveTo>
                    <a:pt x="75" y="91"/>
                  </a:moveTo>
                  <a:lnTo>
                    <a:pt x="79" y="91"/>
                  </a:lnTo>
                  <a:lnTo>
                    <a:pt x="81" y="92"/>
                  </a:lnTo>
                  <a:lnTo>
                    <a:pt x="83" y="93"/>
                  </a:lnTo>
                  <a:lnTo>
                    <a:pt x="85" y="95"/>
                  </a:lnTo>
                  <a:lnTo>
                    <a:pt x="87" y="98"/>
                  </a:lnTo>
                  <a:lnTo>
                    <a:pt x="89" y="100"/>
                  </a:lnTo>
                  <a:lnTo>
                    <a:pt x="90" y="103"/>
                  </a:lnTo>
                  <a:lnTo>
                    <a:pt x="91" y="105"/>
                  </a:lnTo>
                  <a:lnTo>
                    <a:pt x="90" y="109"/>
                  </a:lnTo>
                  <a:lnTo>
                    <a:pt x="89" y="112"/>
                  </a:lnTo>
                  <a:lnTo>
                    <a:pt x="87" y="114"/>
                  </a:lnTo>
                  <a:lnTo>
                    <a:pt x="85" y="116"/>
                  </a:lnTo>
                  <a:lnTo>
                    <a:pt x="83" y="119"/>
                  </a:lnTo>
                  <a:lnTo>
                    <a:pt x="81" y="120"/>
                  </a:lnTo>
                  <a:lnTo>
                    <a:pt x="79" y="121"/>
                  </a:lnTo>
                  <a:lnTo>
                    <a:pt x="75" y="121"/>
                  </a:lnTo>
                  <a:lnTo>
                    <a:pt x="72" y="121"/>
                  </a:lnTo>
                  <a:lnTo>
                    <a:pt x="70" y="120"/>
                  </a:lnTo>
                  <a:lnTo>
                    <a:pt x="66" y="119"/>
                  </a:lnTo>
                  <a:lnTo>
                    <a:pt x="64" y="116"/>
                  </a:lnTo>
                  <a:lnTo>
                    <a:pt x="63" y="114"/>
                  </a:lnTo>
                  <a:lnTo>
                    <a:pt x="61" y="112"/>
                  </a:lnTo>
                  <a:lnTo>
                    <a:pt x="60" y="109"/>
                  </a:lnTo>
                  <a:lnTo>
                    <a:pt x="60" y="105"/>
                  </a:lnTo>
                  <a:lnTo>
                    <a:pt x="60" y="102"/>
                  </a:lnTo>
                  <a:lnTo>
                    <a:pt x="61" y="100"/>
                  </a:lnTo>
                  <a:lnTo>
                    <a:pt x="63" y="98"/>
                  </a:lnTo>
                  <a:lnTo>
                    <a:pt x="64" y="95"/>
                  </a:lnTo>
                  <a:lnTo>
                    <a:pt x="66" y="93"/>
                  </a:lnTo>
                  <a:lnTo>
                    <a:pt x="70" y="92"/>
                  </a:lnTo>
                  <a:lnTo>
                    <a:pt x="72" y="91"/>
                  </a:lnTo>
                  <a:lnTo>
                    <a:pt x="75" y="91"/>
                  </a:lnTo>
                  <a:lnTo>
                    <a:pt x="75" y="91"/>
                  </a:lnTo>
                  <a:close/>
                  <a:moveTo>
                    <a:pt x="135" y="271"/>
                  </a:moveTo>
                  <a:lnTo>
                    <a:pt x="138" y="271"/>
                  </a:lnTo>
                  <a:lnTo>
                    <a:pt x="142" y="272"/>
                  </a:lnTo>
                  <a:lnTo>
                    <a:pt x="144" y="275"/>
                  </a:lnTo>
                  <a:lnTo>
                    <a:pt x="146" y="276"/>
                  </a:lnTo>
                  <a:lnTo>
                    <a:pt x="148" y="278"/>
                  </a:lnTo>
                  <a:lnTo>
                    <a:pt x="149" y="281"/>
                  </a:lnTo>
                  <a:lnTo>
                    <a:pt x="150" y="283"/>
                  </a:lnTo>
                  <a:lnTo>
                    <a:pt x="150" y="287"/>
                  </a:lnTo>
                  <a:lnTo>
                    <a:pt x="150" y="290"/>
                  </a:lnTo>
                  <a:lnTo>
                    <a:pt x="149" y="292"/>
                  </a:lnTo>
                  <a:lnTo>
                    <a:pt x="148" y="296"/>
                  </a:lnTo>
                  <a:lnTo>
                    <a:pt x="146" y="298"/>
                  </a:lnTo>
                  <a:lnTo>
                    <a:pt x="144" y="299"/>
                  </a:lnTo>
                  <a:lnTo>
                    <a:pt x="142" y="301"/>
                  </a:lnTo>
                  <a:lnTo>
                    <a:pt x="138" y="301"/>
                  </a:lnTo>
                  <a:lnTo>
                    <a:pt x="135" y="302"/>
                  </a:lnTo>
                  <a:lnTo>
                    <a:pt x="133" y="301"/>
                  </a:lnTo>
                  <a:lnTo>
                    <a:pt x="129" y="300"/>
                  </a:lnTo>
                  <a:lnTo>
                    <a:pt x="127" y="299"/>
                  </a:lnTo>
                  <a:lnTo>
                    <a:pt x="125" y="298"/>
                  </a:lnTo>
                  <a:lnTo>
                    <a:pt x="123" y="296"/>
                  </a:lnTo>
                  <a:lnTo>
                    <a:pt x="122" y="292"/>
                  </a:lnTo>
                  <a:lnTo>
                    <a:pt x="121" y="290"/>
                  </a:lnTo>
                  <a:lnTo>
                    <a:pt x="121" y="287"/>
                  </a:lnTo>
                  <a:lnTo>
                    <a:pt x="121" y="283"/>
                  </a:lnTo>
                  <a:lnTo>
                    <a:pt x="122" y="281"/>
                  </a:lnTo>
                  <a:lnTo>
                    <a:pt x="123" y="278"/>
                  </a:lnTo>
                  <a:lnTo>
                    <a:pt x="125" y="276"/>
                  </a:lnTo>
                  <a:lnTo>
                    <a:pt x="127" y="275"/>
                  </a:lnTo>
                  <a:lnTo>
                    <a:pt x="129" y="272"/>
                  </a:lnTo>
                  <a:lnTo>
                    <a:pt x="133" y="272"/>
                  </a:lnTo>
                  <a:lnTo>
                    <a:pt x="135" y="271"/>
                  </a:lnTo>
                  <a:lnTo>
                    <a:pt x="135" y="271"/>
                  </a:lnTo>
                  <a:close/>
                  <a:moveTo>
                    <a:pt x="135" y="181"/>
                  </a:moveTo>
                  <a:lnTo>
                    <a:pt x="138" y="182"/>
                  </a:lnTo>
                  <a:lnTo>
                    <a:pt x="142" y="183"/>
                  </a:lnTo>
                  <a:lnTo>
                    <a:pt x="144" y="184"/>
                  </a:lnTo>
                  <a:lnTo>
                    <a:pt x="146" y="185"/>
                  </a:lnTo>
                  <a:lnTo>
                    <a:pt x="148" y="187"/>
                  </a:lnTo>
                  <a:lnTo>
                    <a:pt x="149" y="191"/>
                  </a:lnTo>
                  <a:lnTo>
                    <a:pt x="150" y="193"/>
                  </a:lnTo>
                  <a:lnTo>
                    <a:pt x="150" y="196"/>
                  </a:lnTo>
                  <a:lnTo>
                    <a:pt x="150" y="199"/>
                  </a:lnTo>
                  <a:lnTo>
                    <a:pt x="149" y="202"/>
                  </a:lnTo>
                  <a:lnTo>
                    <a:pt x="148" y="205"/>
                  </a:lnTo>
                  <a:lnTo>
                    <a:pt x="146" y="207"/>
                  </a:lnTo>
                  <a:lnTo>
                    <a:pt x="144" y="208"/>
                  </a:lnTo>
                  <a:lnTo>
                    <a:pt x="142" y="210"/>
                  </a:lnTo>
                  <a:lnTo>
                    <a:pt x="138" y="210"/>
                  </a:lnTo>
                  <a:lnTo>
                    <a:pt x="135" y="212"/>
                  </a:lnTo>
                  <a:lnTo>
                    <a:pt x="133" y="210"/>
                  </a:lnTo>
                  <a:lnTo>
                    <a:pt x="129" y="210"/>
                  </a:lnTo>
                  <a:lnTo>
                    <a:pt x="127" y="208"/>
                  </a:lnTo>
                  <a:lnTo>
                    <a:pt x="125" y="207"/>
                  </a:lnTo>
                  <a:lnTo>
                    <a:pt x="123" y="205"/>
                  </a:lnTo>
                  <a:lnTo>
                    <a:pt x="122" y="202"/>
                  </a:lnTo>
                  <a:lnTo>
                    <a:pt x="121" y="199"/>
                  </a:lnTo>
                  <a:lnTo>
                    <a:pt x="121" y="196"/>
                  </a:lnTo>
                  <a:lnTo>
                    <a:pt x="121" y="193"/>
                  </a:lnTo>
                  <a:lnTo>
                    <a:pt x="122" y="191"/>
                  </a:lnTo>
                  <a:lnTo>
                    <a:pt x="123" y="187"/>
                  </a:lnTo>
                  <a:lnTo>
                    <a:pt x="125" y="185"/>
                  </a:lnTo>
                  <a:lnTo>
                    <a:pt x="127" y="184"/>
                  </a:lnTo>
                  <a:lnTo>
                    <a:pt x="129" y="183"/>
                  </a:lnTo>
                  <a:lnTo>
                    <a:pt x="133" y="182"/>
                  </a:lnTo>
                  <a:lnTo>
                    <a:pt x="135" y="181"/>
                  </a:lnTo>
                  <a:close/>
                  <a:moveTo>
                    <a:pt x="135" y="91"/>
                  </a:moveTo>
                  <a:lnTo>
                    <a:pt x="138" y="91"/>
                  </a:lnTo>
                  <a:lnTo>
                    <a:pt x="142" y="92"/>
                  </a:lnTo>
                  <a:lnTo>
                    <a:pt x="144" y="93"/>
                  </a:lnTo>
                  <a:lnTo>
                    <a:pt x="146" y="95"/>
                  </a:lnTo>
                  <a:lnTo>
                    <a:pt x="148" y="98"/>
                  </a:lnTo>
                  <a:lnTo>
                    <a:pt x="149" y="100"/>
                  </a:lnTo>
                  <a:lnTo>
                    <a:pt x="150" y="103"/>
                  </a:lnTo>
                  <a:lnTo>
                    <a:pt x="150" y="105"/>
                  </a:lnTo>
                  <a:lnTo>
                    <a:pt x="150" y="109"/>
                  </a:lnTo>
                  <a:lnTo>
                    <a:pt x="149" y="112"/>
                  </a:lnTo>
                  <a:lnTo>
                    <a:pt x="148" y="114"/>
                  </a:lnTo>
                  <a:lnTo>
                    <a:pt x="146" y="116"/>
                  </a:lnTo>
                  <a:lnTo>
                    <a:pt x="144" y="119"/>
                  </a:lnTo>
                  <a:lnTo>
                    <a:pt x="142" y="120"/>
                  </a:lnTo>
                  <a:lnTo>
                    <a:pt x="138" y="121"/>
                  </a:lnTo>
                  <a:lnTo>
                    <a:pt x="135" y="121"/>
                  </a:lnTo>
                  <a:lnTo>
                    <a:pt x="133" y="121"/>
                  </a:lnTo>
                  <a:lnTo>
                    <a:pt x="129" y="120"/>
                  </a:lnTo>
                  <a:lnTo>
                    <a:pt x="127" y="119"/>
                  </a:lnTo>
                  <a:lnTo>
                    <a:pt x="125" y="116"/>
                  </a:lnTo>
                  <a:lnTo>
                    <a:pt x="123" y="114"/>
                  </a:lnTo>
                  <a:lnTo>
                    <a:pt x="122" y="112"/>
                  </a:lnTo>
                  <a:lnTo>
                    <a:pt x="121" y="109"/>
                  </a:lnTo>
                  <a:lnTo>
                    <a:pt x="121" y="105"/>
                  </a:lnTo>
                  <a:lnTo>
                    <a:pt x="121" y="102"/>
                  </a:lnTo>
                  <a:lnTo>
                    <a:pt x="122" y="100"/>
                  </a:lnTo>
                  <a:lnTo>
                    <a:pt x="123" y="98"/>
                  </a:lnTo>
                  <a:lnTo>
                    <a:pt x="125" y="95"/>
                  </a:lnTo>
                  <a:lnTo>
                    <a:pt x="127" y="93"/>
                  </a:lnTo>
                  <a:lnTo>
                    <a:pt x="129" y="92"/>
                  </a:lnTo>
                  <a:lnTo>
                    <a:pt x="133" y="91"/>
                  </a:lnTo>
                  <a:lnTo>
                    <a:pt x="135" y="91"/>
                  </a:lnTo>
                  <a:lnTo>
                    <a:pt x="135" y="91"/>
                  </a:lnTo>
                  <a:close/>
                  <a:moveTo>
                    <a:pt x="196" y="271"/>
                  </a:moveTo>
                  <a:lnTo>
                    <a:pt x="199" y="271"/>
                  </a:lnTo>
                  <a:lnTo>
                    <a:pt x="201" y="272"/>
                  </a:lnTo>
                  <a:lnTo>
                    <a:pt x="205" y="275"/>
                  </a:lnTo>
                  <a:lnTo>
                    <a:pt x="207" y="276"/>
                  </a:lnTo>
                  <a:lnTo>
                    <a:pt x="208" y="278"/>
                  </a:lnTo>
                  <a:lnTo>
                    <a:pt x="210" y="281"/>
                  </a:lnTo>
                  <a:lnTo>
                    <a:pt x="210" y="283"/>
                  </a:lnTo>
                  <a:lnTo>
                    <a:pt x="211" y="287"/>
                  </a:lnTo>
                  <a:lnTo>
                    <a:pt x="210" y="290"/>
                  </a:lnTo>
                  <a:lnTo>
                    <a:pt x="210" y="292"/>
                  </a:lnTo>
                  <a:lnTo>
                    <a:pt x="208" y="296"/>
                  </a:lnTo>
                  <a:lnTo>
                    <a:pt x="207" y="298"/>
                  </a:lnTo>
                  <a:lnTo>
                    <a:pt x="205" y="299"/>
                  </a:lnTo>
                  <a:lnTo>
                    <a:pt x="201" y="301"/>
                  </a:lnTo>
                  <a:lnTo>
                    <a:pt x="199" y="301"/>
                  </a:lnTo>
                  <a:lnTo>
                    <a:pt x="196" y="302"/>
                  </a:lnTo>
                  <a:lnTo>
                    <a:pt x="192" y="301"/>
                  </a:lnTo>
                  <a:lnTo>
                    <a:pt x="190" y="300"/>
                  </a:lnTo>
                  <a:lnTo>
                    <a:pt x="187" y="299"/>
                  </a:lnTo>
                  <a:lnTo>
                    <a:pt x="185" y="298"/>
                  </a:lnTo>
                  <a:lnTo>
                    <a:pt x="184" y="296"/>
                  </a:lnTo>
                  <a:lnTo>
                    <a:pt x="181" y="292"/>
                  </a:lnTo>
                  <a:lnTo>
                    <a:pt x="181" y="290"/>
                  </a:lnTo>
                  <a:lnTo>
                    <a:pt x="180" y="287"/>
                  </a:lnTo>
                  <a:lnTo>
                    <a:pt x="181" y="283"/>
                  </a:lnTo>
                  <a:lnTo>
                    <a:pt x="181" y="281"/>
                  </a:lnTo>
                  <a:lnTo>
                    <a:pt x="184" y="278"/>
                  </a:lnTo>
                  <a:lnTo>
                    <a:pt x="185" y="276"/>
                  </a:lnTo>
                  <a:lnTo>
                    <a:pt x="187" y="275"/>
                  </a:lnTo>
                  <a:lnTo>
                    <a:pt x="190" y="272"/>
                  </a:lnTo>
                  <a:lnTo>
                    <a:pt x="192" y="272"/>
                  </a:lnTo>
                  <a:lnTo>
                    <a:pt x="196" y="271"/>
                  </a:lnTo>
                  <a:lnTo>
                    <a:pt x="196" y="271"/>
                  </a:lnTo>
                  <a:close/>
                  <a:moveTo>
                    <a:pt x="196" y="181"/>
                  </a:moveTo>
                  <a:lnTo>
                    <a:pt x="199" y="182"/>
                  </a:lnTo>
                  <a:lnTo>
                    <a:pt x="201" y="183"/>
                  </a:lnTo>
                  <a:lnTo>
                    <a:pt x="205" y="184"/>
                  </a:lnTo>
                  <a:lnTo>
                    <a:pt x="207" y="185"/>
                  </a:lnTo>
                  <a:lnTo>
                    <a:pt x="208" y="187"/>
                  </a:lnTo>
                  <a:lnTo>
                    <a:pt x="210" y="191"/>
                  </a:lnTo>
                  <a:lnTo>
                    <a:pt x="210" y="193"/>
                  </a:lnTo>
                  <a:lnTo>
                    <a:pt x="211" y="196"/>
                  </a:lnTo>
                  <a:lnTo>
                    <a:pt x="210" y="199"/>
                  </a:lnTo>
                  <a:lnTo>
                    <a:pt x="210" y="202"/>
                  </a:lnTo>
                  <a:lnTo>
                    <a:pt x="208" y="205"/>
                  </a:lnTo>
                  <a:lnTo>
                    <a:pt x="207" y="207"/>
                  </a:lnTo>
                  <a:lnTo>
                    <a:pt x="205" y="208"/>
                  </a:lnTo>
                  <a:lnTo>
                    <a:pt x="201" y="210"/>
                  </a:lnTo>
                  <a:lnTo>
                    <a:pt x="199" y="210"/>
                  </a:lnTo>
                  <a:lnTo>
                    <a:pt x="196" y="212"/>
                  </a:lnTo>
                  <a:lnTo>
                    <a:pt x="192" y="210"/>
                  </a:lnTo>
                  <a:lnTo>
                    <a:pt x="190" y="210"/>
                  </a:lnTo>
                  <a:lnTo>
                    <a:pt x="187" y="208"/>
                  </a:lnTo>
                  <a:lnTo>
                    <a:pt x="185" y="207"/>
                  </a:lnTo>
                  <a:lnTo>
                    <a:pt x="184" y="205"/>
                  </a:lnTo>
                  <a:lnTo>
                    <a:pt x="181" y="202"/>
                  </a:lnTo>
                  <a:lnTo>
                    <a:pt x="181" y="199"/>
                  </a:lnTo>
                  <a:lnTo>
                    <a:pt x="180" y="196"/>
                  </a:lnTo>
                  <a:lnTo>
                    <a:pt x="181" y="193"/>
                  </a:lnTo>
                  <a:lnTo>
                    <a:pt x="181" y="191"/>
                  </a:lnTo>
                  <a:lnTo>
                    <a:pt x="184" y="187"/>
                  </a:lnTo>
                  <a:lnTo>
                    <a:pt x="185" y="185"/>
                  </a:lnTo>
                  <a:lnTo>
                    <a:pt x="187" y="184"/>
                  </a:lnTo>
                  <a:lnTo>
                    <a:pt x="190" y="183"/>
                  </a:lnTo>
                  <a:lnTo>
                    <a:pt x="192" y="182"/>
                  </a:lnTo>
                  <a:lnTo>
                    <a:pt x="196" y="181"/>
                  </a:lnTo>
                  <a:close/>
                  <a:moveTo>
                    <a:pt x="196" y="91"/>
                  </a:moveTo>
                  <a:lnTo>
                    <a:pt x="199" y="91"/>
                  </a:lnTo>
                  <a:lnTo>
                    <a:pt x="201" y="92"/>
                  </a:lnTo>
                  <a:lnTo>
                    <a:pt x="205" y="93"/>
                  </a:lnTo>
                  <a:lnTo>
                    <a:pt x="207" y="95"/>
                  </a:lnTo>
                  <a:lnTo>
                    <a:pt x="208" y="98"/>
                  </a:lnTo>
                  <a:lnTo>
                    <a:pt x="210" y="100"/>
                  </a:lnTo>
                  <a:lnTo>
                    <a:pt x="210" y="103"/>
                  </a:lnTo>
                  <a:lnTo>
                    <a:pt x="211" y="105"/>
                  </a:lnTo>
                  <a:lnTo>
                    <a:pt x="210" y="109"/>
                  </a:lnTo>
                  <a:lnTo>
                    <a:pt x="210" y="112"/>
                  </a:lnTo>
                  <a:lnTo>
                    <a:pt x="208" y="114"/>
                  </a:lnTo>
                  <a:lnTo>
                    <a:pt x="207" y="116"/>
                  </a:lnTo>
                  <a:lnTo>
                    <a:pt x="205" y="119"/>
                  </a:lnTo>
                  <a:lnTo>
                    <a:pt x="201" y="120"/>
                  </a:lnTo>
                  <a:lnTo>
                    <a:pt x="199" y="121"/>
                  </a:lnTo>
                  <a:lnTo>
                    <a:pt x="196" y="121"/>
                  </a:lnTo>
                  <a:lnTo>
                    <a:pt x="192" y="121"/>
                  </a:lnTo>
                  <a:lnTo>
                    <a:pt x="190" y="120"/>
                  </a:lnTo>
                  <a:lnTo>
                    <a:pt x="187" y="119"/>
                  </a:lnTo>
                  <a:lnTo>
                    <a:pt x="185" y="116"/>
                  </a:lnTo>
                  <a:lnTo>
                    <a:pt x="184" y="114"/>
                  </a:lnTo>
                  <a:lnTo>
                    <a:pt x="181" y="112"/>
                  </a:lnTo>
                  <a:lnTo>
                    <a:pt x="181" y="109"/>
                  </a:lnTo>
                  <a:lnTo>
                    <a:pt x="180" y="105"/>
                  </a:lnTo>
                  <a:lnTo>
                    <a:pt x="181" y="102"/>
                  </a:lnTo>
                  <a:lnTo>
                    <a:pt x="181" y="100"/>
                  </a:lnTo>
                  <a:lnTo>
                    <a:pt x="184" y="98"/>
                  </a:lnTo>
                  <a:lnTo>
                    <a:pt x="185" y="95"/>
                  </a:lnTo>
                  <a:lnTo>
                    <a:pt x="187" y="93"/>
                  </a:lnTo>
                  <a:lnTo>
                    <a:pt x="190" y="92"/>
                  </a:lnTo>
                  <a:lnTo>
                    <a:pt x="192" y="91"/>
                  </a:lnTo>
                  <a:lnTo>
                    <a:pt x="196" y="91"/>
                  </a:lnTo>
                  <a:lnTo>
                    <a:pt x="196" y="91"/>
                  </a:lnTo>
                  <a:close/>
                  <a:moveTo>
                    <a:pt x="0" y="423"/>
                  </a:moveTo>
                  <a:lnTo>
                    <a:pt x="271" y="423"/>
                  </a:lnTo>
                  <a:lnTo>
                    <a:pt x="271" y="0"/>
                  </a:lnTo>
                  <a:lnTo>
                    <a:pt x="0" y="0"/>
                  </a:lnTo>
                  <a:lnTo>
                    <a:pt x="0" y="4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 1460">
              <a:extLst>
                <a:ext uri="{FF2B5EF4-FFF2-40B4-BE49-F238E27FC236}">
                  <a16:creationId xmlns:a16="http://schemas.microsoft.com/office/drawing/2014/main" id="{7630934C-6A42-4D87-947E-2BD5062A2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6663" y="869950"/>
              <a:ext cx="68263" cy="19050"/>
            </a:xfrm>
            <a:custGeom>
              <a:avLst/>
              <a:gdLst>
                <a:gd name="T0" fmla="*/ 204 w 215"/>
                <a:gd name="T1" fmla="*/ 59 h 59"/>
                <a:gd name="T2" fmla="*/ 210 w 215"/>
                <a:gd name="T3" fmla="*/ 56 h 59"/>
                <a:gd name="T4" fmla="*/ 214 w 215"/>
                <a:gd name="T5" fmla="*/ 50 h 59"/>
                <a:gd name="T6" fmla="*/ 215 w 215"/>
                <a:gd name="T7" fmla="*/ 45 h 59"/>
                <a:gd name="T8" fmla="*/ 214 w 215"/>
                <a:gd name="T9" fmla="*/ 38 h 59"/>
                <a:gd name="T10" fmla="*/ 211 w 215"/>
                <a:gd name="T11" fmla="*/ 34 h 59"/>
                <a:gd name="T12" fmla="*/ 198 w 215"/>
                <a:gd name="T13" fmla="*/ 25 h 59"/>
                <a:gd name="T14" fmla="*/ 173 w 215"/>
                <a:gd name="T15" fmla="*/ 13 h 59"/>
                <a:gd name="T16" fmla="*/ 147 w 215"/>
                <a:gd name="T17" fmla="*/ 5 h 59"/>
                <a:gd name="T18" fmla="*/ 120 w 215"/>
                <a:gd name="T19" fmla="*/ 1 h 59"/>
                <a:gd name="T20" fmla="*/ 94 w 215"/>
                <a:gd name="T21" fmla="*/ 1 h 59"/>
                <a:gd name="T22" fmla="*/ 68 w 215"/>
                <a:gd name="T23" fmla="*/ 5 h 59"/>
                <a:gd name="T24" fmla="*/ 42 w 215"/>
                <a:gd name="T25" fmla="*/ 13 h 59"/>
                <a:gd name="T26" fmla="*/ 17 w 215"/>
                <a:gd name="T27" fmla="*/ 25 h 59"/>
                <a:gd name="T28" fmla="*/ 4 w 215"/>
                <a:gd name="T29" fmla="*/ 34 h 59"/>
                <a:gd name="T30" fmla="*/ 1 w 215"/>
                <a:gd name="T31" fmla="*/ 38 h 59"/>
                <a:gd name="T32" fmla="*/ 0 w 215"/>
                <a:gd name="T33" fmla="*/ 45 h 59"/>
                <a:gd name="T34" fmla="*/ 1 w 215"/>
                <a:gd name="T35" fmla="*/ 50 h 59"/>
                <a:gd name="T36" fmla="*/ 4 w 215"/>
                <a:gd name="T37" fmla="*/ 55 h 59"/>
                <a:gd name="T38" fmla="*/ 9 w 215"/>
                <a:gd name="T39" fmla="*/ 58 h 59"/>
                <a:gd name="T40" fmla="*/ 14 w 215"/>
                <a:gd name="T41" fmla="*/ 59 h 59"/>
                <a:gd name="T42" fmla="*/ 21 w 215"/>
                <a:gd name="T43" fmla="*/ 58 h 59"/>
                <a:gd name="T44" fmla="*/ 33 w 215"/>
                <a:gd name="T45" fmla="*/ 50 h 59"/>
                <a:gd name="T46" fmla="*/ 53 w 215"/>
                <a:gd name="T47" fmla="*/ 41 h 59"/>
                <a:gd name="T48" fmla="*/ 75 w 215"/>
                <a:gd name="T49" fmla="*/ 35 h 59"/>
                <a:gd name="T50" fmla="*/ 96 w 215"/>
                <a:gd name="T51" fmla="*/ 31 h 59"/>
                <a:gd name="T52" fmla="*/ 118 w 215"/>
                <a:gd name="T53" fmla="*/ 31 h 59"/>
                <a:gd name="T54" fmla="*/ 140 w 215"/>
                <a:gd name="T55" fmla="*/ 35 h 59"/>
                <a:gd name="T56" fmla="*/ 162 w 215"/>
                <a:gd name="T57" fmla="*/ 41 h 59"/>
                <a:gd name="T58" fmla="*/ 182 w 215"/>
                <a:gd name="T59" fmla="*/ 50 h 59"/>
                <a:gd name="T60" fmla="*/ 195 w 215"/>
                <a:gd name="T61" fmla="*/ 59 h 59"/>
                <a:gd name="T62" fmla="*/ 200 w 215"/>
                <a:gd name="T63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15" h="59">
                  <a:moveTo>
                    <a:pt x="200" y="59"/>
                  </a:moveTo>
                  <a:lnTo>
                    <a:pt x="204" y="59"/>
                  </a:lnTo>
                  <a:lnTo>
                    <a:pt x="208" y="58"/>
                  </a:lnTo>
                  <a:lnTo>
                    <a:pt x="210" y="56"/>
                  </a:lnTo>
                  <a:lnTo>
                    <a:pt x="213" y="52"/>
                  </a:lnTo>
                  <a:lnTo>
                    <a:pt x="214" y="50"/>
                  </a:lnTo>
                  <a:lnTo>
                    <a:pt x="215" y="47"/>
                  </a:lnTo>
                  <a:lnTo>
                    <a:pt x="215" y="45"/>
                  </a:lnTo>
                  <a:lnTo>
                    <a:pt x="215" y="41"/>
                  </a:lnTo>
                  <a:lnTo>
                    <a:pt x="214" y="38"/>
                  </a:lnTo>
                  <a:lnTo>
                    <a:pt x="213" y="36"/>
                  </a:lnTo>
                  <a:lnTo>
                    <a:pt x="211" y="34"/>
                  </a:lnTo>
                  <a:lnTo>
                    <a:pt x="209" y="31"/>
                  </a:lnTo>
                  <a:lnTo>
                    <a:pt x="198" y="25"/>
                  </a:lnTo>
                  <a:lnTo>
                    <a:pt x="186" y="18"/>
                  </a:lnTo>
                  <a:lnTo>
                    <a:pt x="173" y="13"/>
                  </a:lnTo>
                  <a:lnTo>
                    <a:pt x="160" y="8"/>
                  </a:lnTo>
                  <a:lnTo>
                    <a:pt x="147" y="5"/>
                  </a:lnTo>
                  <a:lnTo>
                    <a:pt x="134" y="3"/>
                  </a:lnTo>
                  <a:lnTo>
                    <a:pt x="120" y="1"/>
                  </a:lnTo>
                  <a:lnTo>
                    <a:pt x="107" y="0"/>
                  </a:lnTo>
                  <a:lnTo>
                    <a:pt x="94" y="1"/>
                  </a:lnTo>
                  <a:lnTo>
                    <a:pt x="80" y="3"/>
                  </a:lnTo>
                  <a:lnTo>
                    <a:pt x="68" y="5"/>
                  </a:lnTo>
                  <a:lnTo>
                    <a:pt x="55" y="8"/>
                  </a:lnTo>
                  <a:lnTo>
                    <a:pt x="42" y="13"/>
                  </a:lnTo>
                  <a:lnTo>
                    <a:pt x="30" y="18"/>
                  </a:lnTo>
                  <a:lnTo>
                    <a:pt x="17" y="25"/>
                  </a:lnTo>
                  <a:lnTo>
                    <a:pt x="6" y="31"/>
                  </a:lnTo>
                  <a:lnTo>
                    <a:pt x="4" y="34"/>
                  </a:lnTo>
                  <a:lnTo>
                    <a:pt x="2" y="36"/>
                  </a:lnTo>
                  <a:lnTo>
                    <a:pt x="1" y="38"/>
                  </a:lnTo>
                  <a:lnTo>
                    <a:pt x="0" y="41"/>
                  </a:lnTo>
                  <a:lnTo>
                    <a:pt x="0" y="45"/>
                  </a:lnTo>
                  <a:lnTo>
                    <a:pt x="0" y="47"/>
                  </a:lnTo>
                  <a:lnTo>
                    <a:pt x="1" y="50"/>
                  </a:lnTo>
                  <a:lnTo>
                    <a:pt x="2" y="52"/>
                  </a:lnTo>
                  <a:lnTo>
                    <a:pt x="4" y="55"/>
                  </a:lnTo>
                  <a:lnTo>
                    <a:pt x="6" y="57"/>
                  </a:lnTo>
                  <a:lnTo>
                    <a:pt x="9" y="58"/>
                  </a:lnTo>
                  <a:lnTo>
                    <a:pt x="12" y="59"/>
                  </a:lnTo>
                  <a:lnTo>
                    <a:pt x="14" y="59"/>
                  </a:lnTo>
                  <a:lnTo>
                    <a:pt x="17" y="59"/>
                  </a:lnTo>
                  <a:lnTo>
                    <a:pt x="21" y="58"/>
                  </a:lnTo>
                  <a:lnTo>
                    <a:pt x="23" y="57"/>
                  </a:lnTo>
                  <a:lnTo>
                    <a:pt x="33" y="50"/>
                  </a:lnTo>
                  <a:lnTo>
                    <a:pt x="43" y="46"/>
                  </a:lnTo>
                  <a:lnTo>
                    <a:pt x="53" y="41"/>
                  </a:lnTo>
                  <a:lnTo>
                    <a:pt x="64" y="37"/>
                  </a:lnTo>
                  <a:lnTo>
                    <a:pt x="75" y="35"/>
                  </a:lnTo>
                  <a:lnTo>
                    <a:pt x="85" y="32"/>
                  </a:lnTo>
                  <a:lnTo>
                    <a:pt x="96" y="31"/>
                  </a:lnTo>
                  <a:lnTo>
                    <a:pt x="107" y="31"/>
                  </a:lnTo>
                  <a:lnTo>
                    <a:pt x="118" y="31"/>
                  </a:lnTo>
                  <a:lnTo>
                    <a:pt x="129" y="32"/>
                  </a:lnTo>
                  <a:lnTo>
                    <a:pt x="140" y="35"/>
                  </a:lnTo>
                  <a:lnTo>
                    <a:pt x="151" y="37"/>
                  </a:lnTo>
                  <a:lnTo>
                    <a:pt x="162" y="41"/>
                  </a:lnTo>
                  <a:lnTo>
                    <a:pt x="172" y="46"/>
                  </a:lnTo>
                  <a:lnTo>
                    <a:pt x="182" y="50"/>
                  </a:lnTo>
                  <a:lnTo>
                    <a:pt x="192" y="57"/>
                  </a:lnTo>
                  <a:lnTo>
                    <a:pt x="195" y="59"/>
                  </a:lnTo>
                  <a:lnTo>
                    <a:pt x="200" y="59"/>
                  </a:lnTo>
                  <a:lnTo>
                    <a:pt x="200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 1461">
              <a:extLst>
                <a:ext uri="{FF2B5EF4-FFF2-40B4-BE49-F238E27FC236}">
                  <a16:creationId xmlns:a16="http://schemas.microsoft.com/office/drawing/2014/main" id="{627A51E2-936C-4260-9ACD-02BC3ABA28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2375" y="841375"/>
              <a:ext cx="96838" cy="23813"/>
            </a:xfrm>
            <a:custGeom>
              <a:avLst/>
              <a:gdLst>
                <a:gd name="T0" fmla="*/ 6 w 307"/>
                <a:gd name="T1" fmla="*/ 46 h 73"/>
                <a:gd name="T2" fmla="*/ 4 w 307"/>
                <a:gd name="T3" fmla="*/ 47 h 73"/>
                <a:gd name="T4" fmla="*/ 3 w 307"/>
                <a:gd name="T5" fmla="*/ 51 h 73"/>
                <a:gd name="T6" fmla="*/ 0 w 307"/>
                <a:gd name="T7" fmla="*/ 53 h 73"/>
                <a:gd name="T8" fmla="*/ 0 w 307"/>
                <a:gd name="T9" fmla="*/ 55 h 73"/>
                <a:gd name="T10" fmla="*/ 0 w 307"/>
                <a:gd name="T11" fmla="*/ 58 h 73"/>
                <a:gd name="T12" fmla="*/ 0 w 307"/>
                <a:gd name="T13" fmla="*/ 62 h 73"/>
                <a:gd name="T14" fmla="*/ 1 w 307"/>
                <a:gd name="T15" fmla="*/ 64 h 73"/>
                <a:gd name="T16" fmla="*/ 3 w 307"/>
                <a:gd name="T17" fmla="*/ 67 h 73"/>
                <a:gd name="T18" fmla="*/ 5 w 307"/>
                <a:gd name="T19" fmla="*/ 69 h 73"/>
                <a:gd name="T20" fmla="*/ 8 w 307"/>
                <a:gd name="T21" fmla="*/ 72 h 73"/>
                <a:gd name="T22" fmla="*/ 11 w 307"/>
                <a:gd name="T23" fmla="*/ 73 h 73"/>
                <a:gd name="T24" fmla="*/ 15 w 307"/>
                <a:gd name="T25" fmla="*/ 73 h 73"/>
                <a:gd name="T26" fmla="*/ 19 w 307"/>
                <a:gd name="T27" fmla="*/ 73 h 73"/>
                <a:gd name="T28" fmla="*/ 24 w 307"/>
                <a:gd name="T29" fmla="*/ 71 h 73"/>
                <a:gd name="T30" fmla="*/ 38 w 307"/>
                <a:gd name="T31" fmla="*/ 61 h 73"/>
                <a:gd name="T32" fmla="*/ 53 w 307"/>
                <a:gd name="T33" fmla="*/ 53 h 73"/>
                <a:gd name="T34" fmla="*/ 70 w 307"/>
                <a:gd name="T35" fmla="*/ 45 h 73"/>
                <a:gd name="T36" fmla="*/ 86 w 307"/>
                <a:gd name="T37" fmla="*/ 40 h 73"/>
                <a:gd name="T38" fmla="*/ 102 w 307"/>
                <a:gd name="T39" fmla="*/ 35 h 73"/>
                <a:gd name="T40" fmla="*/ 120 w 307"/>
                <a:gd name="T41" fmla="*/ 32 h 73"/>
                <a:gd name="T42" fmla="*/ 136 w 307"/>
                <a:gd name="T43" fmla="*/ 30 h 73"/>
                <a:gd name="T44" fmla="*/ 153 w 307"/>
                <a:gd name="T45" fmla="*/ 30 h 73"/>
                <a:gd name="T46" fmla="*/ 171 w 307"/>
                <a:gd name="T47" fmla="*/ 30 h 73"/>
                <a:gd name="T48" fmla="*/ 187 w 307"/>
                <a:gd name="T49" fmla="*/ 32 h 73"/>
                <a:gd name="T50" fmla="*/ 204 w 307"/>
                <a:gd name="T51" fmla="*/ 35 h 73"/>
                <a:gd name="T52" fmla="*/ 220 w 307"/>
                <a:gd name="T53" fmla="*/ 40 h 73"/>
                <a:gd name="T54" fmla="*/ 237 w 307"/>
                <a:gd name="T55" fmla="*/ 45 h 73"/>
                <a:gd name="T56" fmla="*/ 253 w 307"/>
                <a:gd name="T57" fmla="*/ 53 h 73"/>
                <a:gd name="T58" fmla="*/ 268 w 307"/>
                <a:gd name="T59" fmla="*/ 61 h 73"/>
                <a:gd name="T60" fmla="*/ 284 w 307"/>
                <a:gd name="T61" fmla="*/ 71 h 73"/>
                <a:gd name="T62" fmla="*/ 286 w 307"/>
                <a:gd name="T63" fmla="*/ 72 h 73"/>
                <a:gd name="T64" fmla="*/ 289 w 307"/>
                <a:gd name="T65" fmla="*/ 73 h 73"/>
                <a:gd name="T66" fmla="*/ 291 w 307"/>
                <a:gd name="T67" fmla="*/ 73 h 73"/>
                <a:gd name="T68" fmla="*/ 295 w 307"/>
                <a:gd name="T69" fmla="*/ 73 h 73"/>
                <a:gd name="T70" fmla="*/ 298 w 307"/>
                <a:gd name="T71" fmla="*/ 72 h 73"/>
                <a:gd name="T72" fmla="*/ 300 w 307"/>
                <a:gd name="T73" fmla="*/ 71 h 73"/>
                <a:gd name="T74" fmla="*/ 302 w 307"/>
                <a:gd name="T75" fmla="*/ 69 h 73"/>
                <a:gd name="T76" fmla="*/ 305 w 307"/>
                <a:gd name="T77" fmla="*/ 67 h 73"/>
                <a:gd name="T78" fmla="*/ 306 w 307"/>
                <a:gd name="T79" fmla="*/ 64 h 73"/>
                <a:gd name="T80" fmla="*/ 307 w 307"/>
                <a:gd name="T81" fmla="*/ 62 h 73"/>
                <a:gd name="T82" fmla="*/ 307 w 307"/>
                <a:gd name="T83" fmla="*/ 58 h 73"/>
                <a:gd name="T84" fmla="*/ 307 w 307"/>
                <a:gd name="T85" fmla="*/ 55 h 73"/>
                <a:gd name="T86" fmla="*/ 306 w 307"/>
                <a:gd name="T87" fmla="*/ 53 h 73"/>
                <a:gd name="T88" fmla="*/ 305 w 307"/>
                <a:gd name="T89" fmla="*/ 51 h 73"/>
                <a:gd name="T90" fmla="*/ 303 w 307"/>
                <a:gd name="T91" fmla="*/ 47 h 73"/>
                <a:gd name="T92" fmla="*/ 301 w 307"/>
                <a:gd name="T93" fmla="*/ 46 h 73"/>
                <a:gd name="T94" fmla="*/ 284 w 307"/>
                <a:gd name="T95" fmla="*/ 35 h 73"/>
                <a:gd name="T96" fmla="*/ 267 w 307"/>
                <a:gd name="T97" fmla="*/ 25 h 73"/>
                <a:gd name="T98" fmla="*/ 248 w 307"/>
                <a:gd name="T99" fmla="*/ 17 h 73"/>
                <a:gd name="T100" fmla="*/ 230 w 307"/>
                <a:gd name="T101" fmla="*/ 11 h 73"/>
                <a:gd name="T102" fmla="*/ 212 w 307"/>
                <a:gd name="T103" fmla="*/ 5 h 73"/>
                <a:gd name="T104" fmla="*/ 192 w 307"/>
                <a:gd name="T105" fmla="*/ 2 h 73"/>
                <a:gd name="T106" fmla="*/ 173 w 307"/>
                <a:gd name="T107" fmla="*/ 0 h 73"/>
                <a:gd name="T108" fmla="*/ 153 w 307"/>
                <a:gd name="T109" fmla="*/ 0 h 73"/>
                <a:gd name="T110" fmla="*/ 134 w 307"/>
                <a:gd name="T111" fmla="*/ 0 h 73"/>
                <a:gd name="T112" fmla="*/ 115 w 307"/>
                <a:gd name="T113" fmla="*/ 2 h 73"/>
                <a:gd name="T114" fmla="*/ 95 w 307"/>
                <a:gd name="T115" fmla="*/ 5 h 73"/>
                <a:gd name="T116" fmla="*/ 77 w 307"/>
                <a:gd name="T117" fmla="*/ 11 h 73"/>
                <a:gd name="T118" fmla="*/ 59 w 307"/>
                <a:gd name="T119" fmla="*/ 17 h 73"/>
                <a:gd name="T120" fmla="*/ 40 w 307"/>
                <a:gd name="T121" fmla="*/ 25 h 73"/>
                <a:gd name="T122" fmla="*/ 24 w 307"/>
                <a:gd name="T123" fmla="*/ 35 h 73"/>
                <a:gd name="T124" fmla="*/ 6 w 307"/>
                <a:gd name="T125" fmla="*/ 4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07" h="73">
                  <a:moveTo>
                    <a:pt x="6" y="46"/>
                  </a:moveTo>
                  <a:lnTo>
                    <a:pt x="4" y="47"/>
                  </a:lnTo>
                  <a:lnTo>
                    <a:pt x="3" y="51"/>
                  </a:lnTo>
                  <a:lnTo>
                    <a:pt x="0" y="53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1" y="64"/>
                  </a:lnTo>
                  <a:lnTo>
                    <a:pt x="3" y="67"/>
                  </a:lnTo>
                  <a:lnTo>
                    <a:pt x="5" y="69"/>
                  </a:lnTo>
                  <a:lnTo>
                    <a:pt x="8" y="72"/>
                  </a:lnTo>
                  <a:lnTo>
                    <a:pt x="11" y="73"/>
                  </a:lnTo>
                  <a:lnTo>
                    <a:pt x="15" y="73"/>
                  </a:lnTo>
                  <a:lnTo>
                    <a:pt x="19" y="73"/>
                  </a:lnTo>
                  <a:lnTo>
                    <a:pt x="24" y="71"/>
                  </a:lnTo>
                  <a:lnTo>
                    <a:pt x="38" y="61"/>
                  </a:lnTo>
                  <a:lnTo>
                    <a:pt x="53" y="53"/>
                  </a:lnTo>
                  <a:lnTo>
                    <a:pt x="70" y="45"/>
                  </a:lnTo>
                  <a:lnTo>
                    <a:pt x="86" y="40"/>
                  </a:lnTo>
                  <a:lnTo>
                    <a:pt x="102" y="35"/>
                  </a:lnTo>
                  <a:lnTo>
                    <a:pt x="120" y="32"/>
                  </a:lnTo>
                  <a:lnTo>
                    <a:pt x="136" y="30"/>
                  </a:lnTo>
                  <a:lnTo>
                    <a:pt x="153" y="30"/>
                  </a:lnTo>
                  <a:lnTo>
                    <a:pt x="171" y="30"/>
                  </a:lnTo>
                  <a:lnTo>
                    <a:pt x="187" y="32"/>
                  </a:lnTo>
                  <a:lnTo>
                    <a:pt x="204" y="35"/>
                  </a:lnTo>
                  <a:lnTo>
                    <a:pt x="220" y="40"/>
                  </a:lnTo>
                  <a:lnTo>
                    <a:pt x="237" y="45"/>
                  </a:lnTo>
                  <a:lnTo>
                    <a:pt x="253" y="53"/>
                  </a:lnTo>
                  <a:lnTo>
                    <a:pt x="268" y="61"/>
                  </a:lnTo>
                  <a:lnTo>
                    <a:pt x="284" y="71"/>
                  </a:lnTo>
                  <a:lnTo>
                    <a:pt x="286" y="72"/>
                  </a:lnTo>
                  <a:lnTo>
                    <a:pt x="289" y="73"/>
                  </a:lnTo>
                  <a:lnTo>
                    <a:pt x="291" y="73"/>
                  </a:lnTo>
                  <a:lnTo>
                    <a:pt x="295" y="73"/>
                  </a:lnTo>
                  <a:lnTo>
                    <a:pt x="298" y="72"/>
                  </a:lnTo>
                  <a:lnTo>
                    <a:pt x="300" y="71"/>
                  </a:lnTo>
                  <a:lnTo>
                    <a:pt x="302" y="69"/>
                  </a:lnTo>
                  <a:lnTo>
                    <a:pt x="305" y="67"/>
                  </a:lnTo>
                  <a:lnTo>
                    <a:pt x="306" y="64"/>
                  </a:lnTo>
                  <a:lnTo>
                    <a:pt x="307" y="62"/>
                  </a:lnTo>
                  <a:lnTo>
                    <a:pt x="307" y="58"/>
                  </a:lnTo>
                  <a:lnTo>
                    <a:pt x="307" y="55"/>
                  </a:lnTo>
                  <a:lnTo>
                    <a:pt x="306" y="53"/>
                  </a:lnTo>
                  <a:lnTo>
                    <a:pt x="305" y="51"/>
                  </a:lnTo>
                  <a:lnTo>
                    <a:pt x="303" y="47"/>
                  </a:lnTo>
                  <a:lnTo>
                    <a:pt x="301" y="46"/>
                  </a:lnTo>
                  <a:lnTo>
                    <a:pt x="284" y="35"/>
                  </a:lnTo>
                  <a:lnTo>
                    <a:pt x="267" y="25"/>
                  </a:lnTo>
                  <a:lnTo>
                    <a:pt x="248" y="17"/>
                  </a:lnTo>
                  <a:lnTo>
                    <a:pt x="230" y="11"/>
                  </a:lnTo>
                  <a:lnTo>
                    <a:pt x="212" y="5"/>
                  </a:lnTo>
                  <a:lnTo>
                    <a:pt x="192" y="2"/>
                  </a:lnTo>
                  <a:lnTo>
                    <a:pt x="173" y="0"/>
                  </a:lnTo>
                  <a:lnTo>
                    <a:pt x="153" y="0"/>
                  </a:lnTo>
                  <a:lnTo>
                    <a:pt x="134" y="0"/>
                  </a:lnTo>
                  <a:lnTo>
                    <a:pt x="115" y="2"/>
                  </a:lnTo>
                  <a:lnTo>
                    <a:pt x="95" y="5"/>
                  </a:lnTo>
                  <a:lnTo>
                    <a:pt x="77" y="11"/>
                  </a:lnTo>
                  <a:lnTo>
                    <a:pt x="59" y="17"/>
                  </a:lnTo>
                  <a:lnTo>
                    <a:pt x="40" y="25"/>
                  </a:lnTo>
                  <a:lnTo>
                    <a:pt x="24" y="35"/>
                  </a:lnTo>
                  <a:lnTo>
                    <a:pt x="6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 1462">
              <a:extLst>
                <a:ext uri="{FF2B5EF4-FFF2-40B4-BE49-F238E27FC236}">
                  <a16:creationId xmlns:a16="http://schemas.microsoft.com/office/drawing/2014/main" id="{91A2A146-09F8-44CF-B483-40D2A0A0C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0950" y="898525"/>
              <a:ext cx="39688" cy="14288"/>
            </a:xfrm>
            <a:custGeom>
              <a:avLst/>
              <a:gdLst>
                <a:gd name="T0" fmla="*/ 8 w 124"/>
                <a:gd name="T1" fmla="*/ 16 h 43"/>
                <a:gd name="T2" fmla="*/ 6 w 124"/>
                <a:gd name="T3" fmla="*/ 18 h 43"/>
                <a:gd name="T4" fmla="*/ 3 w 124"/>
                <a:gd name="T5" fmla="*/ 20 h 43"/>
                <a:gd name="T6" fmla="*/ 2 w 124"/>
                <a:gd name="T7" fmla="*/ 22 h 43"/>
                <a:gd name="T8" fmla="*/ 1 w 124"/>
                <a:gd name="T9" fmla="*/ 26 h 43"/>
                <a:gd name="T10" fmla="*/ 0 w 124"/>
                <a:gd name="T11" fmla="*/ 28 h 43"/>
                <a:gd name="T12" fmla="*/ 0 w 124"/>
                <a:gd name="T13" fmla="*/ 31 h 43"/>
                <a:gd name="T14" fmla="*/ 1 w 124"/>
                <a:gd name="T15" fmla="*/ 33 h 43"/>
                <a:gd name="T16" fmla="*/ 2 w 124"/>
                <a:gd name="T17" fmla="*/ 37 h 43"/>
                <a:gd name="T18" fmla="*/ 6 w 124"/>
                <a:gd name="T19" fmla="*/ 40 h 43"/>
                <a:gd name="T20" fmla="*/ 8 w 124"/>
                <a:gd name="T21" fmla="*/ 42 h 43"/>
                <a:gd name="T22" fmla="*/ 12 w 124"/>
                <a:gd name="T23" fmla="*/ 43 h 43"/>
                <a:gd name="T24" fmla="*/ 16 w 124"/>
                <a:gd name="T25" fmla="*/ 43 h 43"/>
                <a:gd name="T26" fmla="*/ 20 w 124"/>
                <a:gd name="T27" fmla="*/ 43 h 43"/>
                <a:gd name="T28" fmla="*/ 23 w 124"/>
                <a:gd name="T29" fmla="*/ 42 h 43"/>
                <a:gd name="T30" fmla="*/ 33 w 124"/>
                <a:gd name="T31" fmla="*/ 37 h 43"/>
                <a:gd name="T32" fmla="*/ 42 w 124"/>
                <a:gd name="T33" fmla="*/ 33 h 43"/>
                <a:gd name="T34" fmla="*/ 52 w 124"/>
                <a:gd name="T35" fmla="*/ 31 h 43"/>
                <a:gd name="T36" fmla="*/ 62 w 124"/>
                <a:gd name="T37" fmla="*/ 30 h 43"/>
                <a:gd name="T38" fmla="*/ 73 w 124"/>
                <a:gd name="T39" fmla="*/ 31 h 43"/>
                <a:gd name="T40" fmla="*/ 83 w 124"/>
                <a:gd name="T41" fmla="*/ 33 h 43"/>
                <a:gd name="T42" fmla="*/ 92 w 124"/>
                <a:gd name="T43" fmla="*/ 37 h 43"/>
                <a:gd name="T44" fmla="*/ 102 w 124"/>
                <a:gd name="T45" fmla="*/ 42 h 43"/>
                <a:gd name="T46" fmla="*/ 104 w 124"/>
                <a:gd name="T47" fmla="*/ 43 h 43"/>
                <a:gd name="T48" fmla="*/ 107 w 124"/>
                <a:gd name="T49" fmla="*/ 43 h 43"/>
                <a:gd name="T50" fmla="*/ 110 w 124"/>
                <a:gd name="T51" fmla="*/ 43 h 43"/>
                <a:gd name="T52" fmla="*/ 113 w 124"/>
                <a:gd name="T53" fmla="*/ 43 h 43"/>
                <a:gd name="T54" fmla="*/ 116 w 124"/>
                <a:gd name="T55" fmla="*/ 42 h 43"/>
                <a:gd name="T56" fmla="*/ 118 w 124"/>
                <a:gd name="T57" fmla="*/ 41 h 43"/>
                <a:gd name="T58" fmla="*/ 121 w 124"/>
                <a:gd name="T59" fmla="*/ 39 h 43"/>
                <a:gd name="T60" fmla="*/ 123 w 124"/>
                <a:gd name="T61" fmla="*/ 37 h 43"/>
                <a:gd name="T62" fmla="*/ 124 w 124"/>
                <a:gd name="T63" fmla="*/ 33 h 43"/>
                <a:gd name="T64" fmla="*/ 124 w 124"/>
                <a:gd name="T65" fmla="*/ 31 h 43"/>
                <a:gd name="T66" fmla="*/ 124 w 124"/>
                <a:gd name="T67" fmla="*/ 28 h 43"/>
                <a:gd name="T68" fmla="*/ 124 w 124"/>
                <a:gd name="T69" fmla="*/ 26 h 43"/>
                <a:gd name="T70" fmla="*/ 123 w 124"/>
                <a:gd name="T71" fmla="*/ 22 h 43"/>
                <a:gd name="T72" fmla="*/ 122 w 124"/>
                <a:gd name="T73" fmla="*/ 20 h 43"/>
                <a:gd name="T74" fmla="*/ 119 w 124"/>
                <a:gd name="T75" fmla="*/ 18 h 43"/>
                <a:gd name="T76" fmla="*/ 117 w 124"/>
                <a:gd name="T77" fmla="*/ 16 h 43"/>
                <a:gd name="T78" fmla="*/ 104 w 124"/>
                <a:gd name="T79" fmla="*/ 9 h 43"/>
                <a:gd name="T80" fmla="*/ 91 w 124"/>
                <a:gd name="T81" fmla="*/ 5 h 43"/>
                <a:gd name="T82" fmla="*/ 76 w 124"/>
                <a:gd name="T83" fmla="*/ 1 h 43"/>
                <a:gd name="T84" fmla="*/ 62 w 124"/>
                <a:gd name="T85" fmla="*/ 0 h 43"/>
                <a:gd name="T86" fmla="*/ 49 w 124"/>
                <a:gd name="T87" fmla="*/ 1 h 43"/>
                <a:gd name="T88" fmla="*/ 34 w 124"/>
                <a:gd name="T89" fmla="*/ 5 h 43"/>
                <a:gd name="T90" fmla="*/ 21 w 124"/>
                <a:gd name="T91" fmla="*/ 9 h 43"/>
                <a:gd name="T92" fmla="*/ 8 w 124"/>
                <a:gd name="T93" fmla="*/ 16 h 43"/>
                <a:gd name="T94" fmla="*/ 8 w 124"/>
                <a:gd name="T95" fmla="*/ 16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4" h="43">
                  <a:moveTo>
                    <a:pt x="8" y="16"/>
                  </a:moveTo>
                  <a:lnTo>
                    <a:pt x="6" y="18"/>
                  </a:lnTo>
                  <a:lnTo>
                    <a:pt x="3" y="20"/>
                  </a:lnTo>
                  <a:lnTo>
                    <a:pt x="2" y="22"/>
                  </a:lnTo>
                  <a:lnTo>
                    <a:pt x="1" y="26"/>
                  </a:lnTo>
                  <a:lnTo>
                    <a:pt x="0" y="28"/>
                  </a:lnTo>
                  <a:lnTo>
                    <a:pt x="0" y="31"/>
                  </a:lnTo>
                  <a:lnTo>
                    <a:pt x="1" y="33"/>
                  </a:lnTo>
                  <a:lnTo>
                    <a:pt x="2" y="37"/>
                  </a:lnTo>
                  <a:lnTo>
                    <a:pt x="6" y="40"/>
                  </a:lnTo>
                  <a:lnTo>
                    <a:pt x="8" y="42"/>
                  </a:lnTo>
                  <a:lnTo>
                    <a:pt x="12" y="43"/>
                  </a:lnTo>
                  <a:lnTo>
                    <a:pt x="16" y="43"/>
                  </a:lnTo>
                  <a:lnTo>
                    <a:pt x="20" y="43"/>
                  </a:lnTo>
                  <a:lnTo>
                    <a:pt x="23" y="42"/>
                  </a:lnTo>
                  <a:lnTo>
                    <a:pt x="33" y="37"/>
                  </a:lnTo>
                  <a:lnTo>
                    <a:pt x="42" y="33"/>
                  </a:lnTo>
                  <a:lnTo>
                    <a:pt x="52" y="31"/>
                  </a:lnTo>
                  <a:lnTo>
                    <a:pt x="62" y="30"/>
                  </a:lnTo>
                  <a:lnTo>
                    <a:pt x="73" y="31"/>
                  </a:lnTo>
                  <a:lnTo>
                    <a:pt x="83" y="33"/>
                  </a:lnTo>
                  <a:lnTo>
                    <a:pt x="92" y="37"/>
                  </a:lnTo>
                  <a:lnTo>
                    <a:pt x="102" y="42"/>
                  </a:lnTo>
                  <a:lnTo>
                    <a:pt x="104" y="43"/>
                  </a:lnTo>
                  <a:lnTo>
                    <a:pt x="107" y="43"/>
                  </a:lnTo>
                  <a:lnTo>
                    <a:pt x="110" y="43"/>
                  </a:lnTo>
                  <a:lnTo>
                    <a:pt x="113" y="43"/>
                  </a:lnTo>
                  <a:lnTo>
                    <a:pt x="116" y="42"/>
                  </a:lnTo>
                  <a:lnTo>
                    <a:pt x="118" y="41"/>
                  </a:lnTo>
                  <a:lnTo>
                    <a:pt x="121" y="39"/>
                  </a:lnTo>
                  <a:lnTo>
                    <a:pt x="123" y="37"/>
                  </a:lnTo>
                  <a:lnTo>
                    <a:pt x="124" y="33"/>
                  </a:lnTo>
                  <a:lnTo>
                    <a:pt x="124" y="31"/>
                  </a:lnTo>
                  <a:lnTo>
                    <a:pt x="124" y="28"/>
                  </a:lnTo>
                  <a:lnTo>
                    <a:pt x="124" y="26"/>
                  </a:lnTo>
                  <a:lnTo>
                    <a:pt x="123" y="22"/>
                  </a:lnTo>
                  <a:lnTo>
                    <a:pt x="122" y="20"/>
                  </a:lnTo>
                  <a:lnTo>
                    <a:pt x="119" y="18"/>
                  </a:lnTo>
                  <a:lnTo>
                    <a:pt x="117" y="16"/>
                  </a:lnTo>
                  <a:lnTo>
                    <a:pt x="104" y="9"/>
                  </a:lnTo>
                  <a:lnTo>
                    <a:pt x="91" y="5"/>
                  </a:lnTo>
                  <a:lnTo>
                    <a:pt x="76" y="1"/>
                  </a:lnTo>
                  <a:lnTo>
                    <a:pt x="62" y="0"/>
                  </a:lnTo>
                  <a:lnTo>
                    <a:pt x="49" y="1"/>
                  </a:lnTo>
                  <a:lnTo>
                    <a:pt x="34" y="5"/>
                  </a:lnTo>
                  <a:lnTo>
                    <a:pt x="21" y="9"/>
                  </a:lnTo>
                  <a:lnTo>
                    <a:pt x="8" y="16"/>
                  </a:lnTo>
                  <a:lnTo>
                    <a:pt x="8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5C9DD4C0-72B9-4464-9AE6-96C554B321BF}"/>
              </a:ext>
            </a:extLst>
          </p:cNvPr>
          <p:cNvSpPr/>
          <p:nvPr/>
        </p:nvSpPr>
        <p:spPr>
          <a:xfrm>
            <a:off x="618640" y="4088"/>
            <a:ext cx="4093028" cy="2046514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E7A5DD22-4E32-4F8F-A847-7FE291BD1358}"/>
              </a:ext>
            </a:extLst>
          </p:cNvPr>
          <p:cNvSpPr/>
          <p:nvPr/>
        </p:nvSpPr>
        <p:spPr>
          <a:xfrm rot="5400000">
            <a:off x="8731656" y="4279893"/>
            <a:ext cx="4613792" cy="2306896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8" name="Picture 107">
            <a:extLst>
              <a:ext uri="{FF2B5EF4-FFF2-40B4-BE49-F238E27FC236}">
                <a16:creationId xmlns:a16="http://schemas.microsoft.com/office/drawing/2014/main" id="{A6BA5E63-69F5-4BE2-91ED-886D8CEC38AD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360491" y="5372100"/>
            <a:ext cx="3351177" cy="1485900"/>
          </a:xfrm>
          <a:prstGeom prst="rect">
            <a:avLst/>
          </a:prstGeom>
        </p:spPr>
      </p:pic>
      <p:sp>
        <p:nvSpPr>
          <p:cNvPr id="48" name="Rectángulo 3">
            <a:extLst>
              <a:ext uri="{FF2B5EF4-FFF2-40B4-BE49-F238E27FC236}">
                <a16:creationId xmlns:a16="http://schemas.microsoft.com/office/drawing/2014/main" id="{FA1C4A1E-F46D-4688-BD06-FEFF576FDC12}"/>
              </a:ext>
            </a:extLst>
          </p:cNvPr>
          <p:cNvSpPr/>
          <p:nvPr/>
        </p:nvSpPr>
        <p:spPr>
          <a:xfrm>
            <a:off x="8196808" y="4428171"/>
            <a:ext cx="3580596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chnology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 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BEF86F43-0C3E-478E-A7B5-0CAD9196EF3A}"/>
              </a:ext>
            </a:extLst>
          </p:cNvPr>
          <p:cNvSpPr/>
          <p:nvPr/>
        </p:nvSpPr>
        <p:spPr>
          <a:xfrm>
            <a:off x="4452564" y="5346462"/>
            <a:ext cx="584775" cy="58477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C258E6B3-FE96-4F12-BE40-DFFC9B8CB28F}"/>
              </a:ext>
            </a:extLst>
          </p:cNvPr>
          <p:cNvSpPr/>
          <p:nvPr/>
        </p:nvSpPr>
        <p:spPr>
          <a:xfrm>
            <a:off x="5146560" y="5470332"/>
            <a:ext cx="3580596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Health</a:t>
            </a: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2ED51A1C-B6A9-4488-8448-D29901A35D04}"/>
              </a:ext>
            </a:extLst>
          </p:cNvPr>
          <p:cNvGrpSpPr/>
          <p:nvPr/>
        </p:nvGrpSpPr>
        <p:grpSpPr>
          <a:xfrm>
            <a:off x="4618316" y="5495974"/>
            <a:ext cx="239712" cy="285750"/>
            <a:chOff x="5494338" y="1370013"/>
            <a:chExt cx="239712" cy="285750"/>
          </a:xfrm>
          <a:gradFill>
            <a:gsLst>
              <a:gs pos="0">
                <a:srgbClr val="0683B8"/>
              </a:gs>
              <a:gs pos="100000">
                <a:srgbClr val="7030A0"/>
              </a:gs>
            </a:gsLst>
            <a:lin ang="18900000" scaled="1"/>
          </a:gradFill>
        </p:grpSpPr>
        <p:sp>
          <p:nvSpPr>
            <p:cNvPr id="79" name="Freeform 961">
              <a:extLst>
                <a:ext uri="{FF2B5EF4-FFF2-40B4-BE49-F238E27FC236}">
                  <a16:creationId xmlns:a16="http://schemas.microsoft.com/office/drawing/2014/main" id="{4DEF2527-CFF5-452A-A683-7075E0905D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29275" y="1370013"/>
              <a:ext cx="104775" cy="133350"/>
            </a:xfrm>
            <a:custGeom>
              <a:avLst/>
              <a:gdLst>
                <a:gd name="T0" fmla="*/ 156 w 265"/>
                <a:gd name="T1" fmla="*/ 108 h 337"/>
                <a:gd name="T2" fmla="*/ 156 w 265"/>
                <a:gd name="T3" fmla="*/ 12 h 337"/>
                <a:gd name="T4" fmla="*/ 252 w 265"/>
                <a:gd name="T5" fmla="*/ 108 h 337"/>
                <a:gd name="T6" fmla="*/ 156 w 265"/>
                <a:gd name="T7" fmla="*/ 108 h 337"/>
                <a:gd name="T8" fmla="*/ 261 w 265"/>
                <a:gd name="T9" fmla="*/ 100 h 337"/>
                <a:gd name="T10" fmla="*/ 165 w 265"/>
                <a:gd name="T11" fmla="*/ 3 h 337"/>
                <a:gd name="T12" fmla="*/ 161 w 265"/>
                <a:gd name="T13" fmla="*/ 1 h 337"/>
                <a:gd name="T14" fmla="*/ 156 w 265"/>
                <a:gd name="T15" fmla="*/ 0 h 337"/>
                <a:gd name="T16" fmla="*/ 12 w 265"/>
                <a:gd name="T17" fmla="*/ 0 h 337"/>
                <a:gd name="T18" fmla="*/ 7 w 265"/>
                <a:gd name="T19" fmla="*/ 1 h 337"/>
                <a:gd name="T20" fmla="*/ 3 w 265"/>
                <a:gd name="T21" fmla="*/ 3 h 337"/>
                <a:gd name="T22" fmla="*/ 1 w 265"/>
                <a:gd name="T23" fmla="*/ 7 h 337"/>
                <a:gd name="T24" fmla="*/ 0 w 265"/>
                <a:gd name="T25" fmla="*/ 12 h 337"/>
                <a:gd name="T26" fmla="*/ 0 w 265"/>
                <a:gd name="T27" fmla="*/ 325 h 337"/>
                <a:gd name="T28" fmla="*/ 1 w 265"/>
                <a:gd name="T29" fmla="*/ 329 h 337"/>
                <a:gd name="T30" fmla="*/ 3 w 265"/>
                <a:gd name="T31" fmla="*/ 334 h 337"/>
                <a:gd name="T32" fmla="*/ 7 w 265"/>
                <a:gd name="T33" fmla="*/ 337 h 337"/>
                <a:gd name="T34" fmla="*/ 12 w 265"/>
                <a:gd name="T35" fmla="*/ 337 h 337"/>
                <a:gd name="T36" fmla="*/ 253 w 265"/>
                <a:gd name="T37" fmla="*/ 337 h 337"/>
                <a:gd name="T38" fmla="*/ 258 w 265"/>
                <a:gd name="T39" fmla="*/ 337 h 337"/>
                <a:gd name="T40" fmla="*/ 261 w 265"/>
                <a:gd name="T41" fmla="*/ 334 h 337"/>
                <a:gd name="T42" fmla="*/ 264 w 265"/>
                <a:gd name="T43" fmla="*/ 329 h 337"/>
                <a:gd name="T44" fmla="*/ 265 w 265"/>
                <a:gd name="T45" fmla="*/ 325 h 337"/>
                <a:gd name="T46" fmla="*/ 265 w 265"/>
                <a:gd name="T47" fmla="*/ 108 h 337"/>
                <a:gd name="T48" fmla="*/ 264 w 265"/>
                <a:gd name="T49" fmla="*/ 104 h 337"/>
                <a:gd name="T50" fmla="*/ 261 w 265"/>
                <a:gd name="T51" fmla="*/ 10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5" h="337">
                  <a:moveTo>
                    <a:pt x="156" y="108"/>
                  </a:moveTo>
                  <a:lnTo>
                    <a:pt x="156" y="12"/>
                  </a:lnTo>
                  <a:lnTo>
                    <a:pt x="252" y="108"/>
                  </a:lnTo>
                  <a:lnTo>
                    <a:pt x="156" y="108"/>
                  </a:lnTo>
                  <a:close/>
                  <a:moveTo>
                    <a:pt x="261" y="100"/>
                  </a:moveTo>
                  <a:lnTo>
                    <a:pt x="165" y="3"/>
                  </a:lnTo>
                  <a:lnTo>
                    <a:pt x="161" y="1"/>
                  </a:lnTo>
                  <a:lnTo>
                    <a:pt x="156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325"/>
                  </a:lnTo>
                  <a:lnTo>
                    <a:pt x="1" y="329"/>
                  </a:lnTo>
                  <a:lnTo>
                    <a:pt x="3" y="334"/>
                  </a:lnTo>
                  <a:lnTo>
                    <a:pt x="7" y="337"/>
                  </a:lnTo>
                  <a:lnTo>
                    <a:pt x="12" y="337"/>
                  </a:lnTo>
                  <a:lnTo>
                    <a:pt x="253" y="337"/>
                  </a:lnTo>
                  <a:lnTo>
                    <a:pt x="258" y="337"/>
                  </a:lnTo>
                  <a:lnTo>
                    <a:pt x="261" y="334"/>
                  </a:lnTo>
                  <a:lnTo>
                    <a:pt x="264" y="329"/>
                  </a:lnTo>
                  <a:lnTo>
                    <a:pt x="265" y="325"/>
                  </a:lnTo>
                  <a:lnTo>
                    <a:pt x="265" y="108"/>
                  </a:lnTo>
                  <a:lnTo>
                    <a:pt x="264" y="104"/>
                  </a:lnTo>
                  <a:lnTo>
                    <a:pt x="261" y="1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reeform 962">
              <a:extLst>
                <a:ext uri="{FF2B5EF4-FFF2-40B4-BE49-F238E27FC236}">
                  <a16:creationId xmlns:a16="http://schemas.microsoft.com/office/drawing/2014/main" id="{659D6EDC-AF23-4537-831E-E67080FCB3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94338" y="1370013"/>
              <a:ext cx="106363" cy="133350"/>
            </a:xfrm>
            <a:custGeom>
              <a:avLst/>
              <a:gdLst>
                <a:gd name="T0" fmla="*/ 157 w 266"/>
                <a:gd name="T1" fmla="*/ 108 h 337"/>
                <a:gd name="T2" fmla="*/ 157 w 266"/>
                <a:gd name="T3" fmla="*/ 12 h 337"/>
                <a:gd name="T4" fmla="*/ 252 w 266"/>
                <a:gd name="T5" fmla="*/ 108 h 337"/>
                <a:gd name="T6" fmla="*/ 157 w 266"/>
                <a:gd name="T7" fmla="*/ 108 h 337"/>
                <a:gd name="T8" fmla="*/ 166 w 266"/>
                <a:gd name="T9" fmla="*/ 3 h 337"/>
                <a:gd name="T10" fmla="*/ 162 w 266"/>
                <a:gd name="T11" fmla="*/ 1 h 337"/>
                <a:gd name="T12" fmla="*/ 157 w 266"/>
                <a:gd name="T13" fmla="*/ 0 h 337"/>
                <a:gd name="T14" fmla="*/ 13 w 266"/>
                <a:gd name="T15" fmla="*/ 0 h 337"/>
                <a:gd name="T16" fmla="*/ 8 w 266"/>
                <a:gd name="T17" fmla="*/ 1 h 337"/>
                <a:gd name="T18" fmla="*/ 5 w 266"/>
                <a:gd name="T19" fmla="*/ 3 h 337"/>
                <a:gd name="T20" fmla="*/ 1 w 266"/>
                <a:gd name="T21" fmla="*/ 7 h 337"/>
                <a:gd name="T22" fmla="*/ 0 w 266"/>
                <a:gd name="T23" fmla="*/ 12 h 337"/>
                <a:gd name="T24" fmla="*/ 0 w 266"/>
                <a:gd name="T25" fmla="*/ 325 h 337"/>
                <a:gd name="T26" fmla="*/ 1 w 266"/>
                <a:gd name="T27" fmla="*/ 329 h 337"/>
                <a:gd name="T28" fmla="*/ 5 w 266"/>
                <a:gd name="T29" fmla="*/ 334 h 337"/>
                <a:gd name="T30" fmla="*/ 8 w 266"/>
                <a:gd name="T31" fmla="*/ 337 h 337"/>
                <a:gd name="T32" fmla="*/ 13 w 266"/>
                <a:gd name="T33" fmla="*/ 337 h 337"/>
                <a:gd name="T34" fmla="*/ 253 w 266"/>
                <a:gd name="T35" fmla="*/ 337 h 337"/>
                <a:gd name="T36" fmla="*/ 258 w 266"/>
                <a:gd name="T37" fmla="*/ 337 h 337"/>
                <a:gd name="T38" fmla="*/ 263 w 266"/>
                <a:gd name="T39" fmla="*/ 334 h 337"/>
                <a:gd name="T40" fmla="*/ 265 w 266"/>
                <a:gd name="T41" fmla="*/ 329 h 337"/>
                <a:gd name="T42" fmla="*/ 266 w 266"/>
                <a:gd name="T43" fmla="*/ 325 h 337"/>
                <a:gd name="T44" fmla="*/ 266 w 266"/>
                <a:gd name="T45" fmla="*/ 108 h 337"/>
                <a:gd name="T46" fmla="*/ 265 w 266"/>
                <a:gd name="T47" fmla="*/ 104 h 337"/>
                <a:gd name="T48" fmla="*/ 263 w 266"/>
                <a:gd name="T49" fmla="*/ 100 h 337"/>
                <a:gd name="T50" fmla="*/ 166 w 266"/>
                <a:gd name="T51" fmla="*/ 3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6" h="337">
                  <a:moveTo>
                    <a:pt x="157" y="108"/>
                  </a:moveTo>
                  <a:lnTo>
                    <a:pt x="157" y="12"/>
                  </a:lnTo>
                  <a:lnTo>
                    <a:pt x="252" y="108"/>
                  </a:lnTo>
                  <a:lnTo>
                    <a:pt x="157" y="108"/>
                  </a:lnTo>
                  <a:close/>
                  <a:moveTo>
                    <a:pt x="166" y="3"/>
                  </a:moveTo>
                  <a:lnTo>
                    <a:pt x="162" y="1"/>
                  </a:lnTo>
                  <a:lnTo>
                    <a:pt x="157" y="0"/>
                  </a:lnTo>
                  <a:lnTo>
                    <a:pt x="13" y="0"/>
                  </a:lnTo>
                  <a:lnTo>
                    <a:pt x="8" y="1"/>
                  </a:lnTo>
                  <a:lnTo>
                    <a:pt x="5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325"/>
                  </a:lnTo>
                  <a:lnTo>
                    <a:pt x="1" y="329"/>
                  </a:lnTo>
                  <a:lnTo>
                    <a:pt x="5" y="334"/>
                  </a:lnTo>
                  <a:lnTo>
                    <a:pt x="8" y="337"/>
                  </a:lnTo>
                  <a:lnTo>
                    <a:pt x="13" y="337"/>
                  </a:lnTo>
                  <a:lnTo>
                    <a:pt x="253" y="337"/>
                  </a:lnTo>
                  <a:lnTo>
                    <a:pt x="258" y="337"/>
                  </a:lnTo>
                  <a:lnTo>
                    <a:pt x="263" y="334"/>
                  </a:lnTo>
                  <a:lnTo>
                    <a:pt x="265" y="329"/>
                  </a:lnTo>
                  <a:lnTo>
                    <a:pt x="266" y="325"/>
                  </a:lnTo>
                  <a:lnTo>
                    <a:pt x="266" y="108"/>
                  </a:lnTo>
                  <a:lnTo>
                    <a:pt x="265" y="104"/>
                  </a:lnTo>
                  <a:lnTo>
                    <a:pt x="263" y="100"/>
                  </a:lnTo>
                  <a:lnTo>
                    <a:pt x="166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Freeform 963">
              <a:extLst>
                <a:ext uri="{FF2B5EF4-FFF2-40B4-BE49-F238E27FC236}">
                  <a16:creationId xmlns:a16="http://schemas.microsoft.com/office/drawing/2014/main" id="{6D964340-DB32-4C93-A7E2-922A82075F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29275" y="1522413"/>
              <a:ext cx="104775" cy="133350"/>
            </a:xfrm>
            <a:custGeom>
              <a:avLst/>
              <a:gdLst>
                <a:gd name="T0" fmla="*/ 156 w 265"/>
                <a:gd name="T1" fmla="*/ 108 h 336"/>
                <a:gd name="T2" fmla="*/ 156 w 265"/>
                <a:gd name="T3" fmla="*/ 11 h 336"/>
                <a:gd name="T4" fmla="*/ 252 w 265"/>
                <a:gd name="T5" fmla="*/ 108 h 336"/>
                <a:gd name="T6" fmla="*/ 156 w 265"/>
                <a:gd name="T7" fmla="*/ 108 h 336"/>
                <a:gd name="T8" fmla="*/ 165 w 265"/>
                <a:gd name="T9" fmla="*/ 3 h 336"/>
                <a:gd name="T10" fmla="*/ 161 w 265"/>
                <a:gd name="T11" fmla="*/ 1 h 336"/>
                <a:gd name="T12" fmla="*/ 156 w 265"/>
                <a:gd name="T13" fmla="*/ 0 h 336"/>
                <a:gd name="T14" fmla="*/ 12 w 265"/>
                <a:gd name="T15" fmla="*/ 0 h 336"/>
                <a:gd name="T16" fmla="*/ 7 w 265"/>
                <a:gd name="T17" fmla="*/ 1 h 336"/>
                <a:gd name="T18" fmla="*/ 3 w 265"/>
                <a:gd name="T19" fmla="*/ 3 h 336"/>
                <a:gd name="T20" fmla="*/ 1 w 265"/>
                <a:gd name="T21" fmla="*/ 7 h 336"/>
                <a:gd name="T22" fmla="*/ 0 w 265"/>
                <a:gd name="T23" fmla="*/ 11 h 336"/>
                <a:gd name="T24" fmla="*/ 0 w 265"/>
                <a:gd name="T25" fmla="*/ 325 h 336"/>
                <a:gd name="T26" fmla="*/ 1 w 265"/>
                <a:gd name="T27" fmla="*/ 329 h 336"/>
                <a:gd name="T28" fmla="*/ 3 w 265"/>
                <a:gd name="T29" fmla="*/ 333 h 336"/>
                <a:gd name="T30" fmla="*/ 7 w 265"/>
                <a:gd name="T31" fmla="*/ 335 h 336"/>
                <a:gd name="T32" fmla="*/ 12 w 265"/>
                <a:gd name="T33" fmla="*/ 336 h 336"/>
                <a:gd name="T34" fmla="*/ 253 w 265"/>
                <a:gd name="T35" fmla="*/ 336 h 336"/>
                <a:gd name="T36" fmla="*/ 258 w 265"/>
                <a:gd name="T37" fmla="*/ 335 h 336"/>
                <a:gd name="T38" fmla="*/ 261 w 265"/>
                <a:gd name="T39" fmla="*/ 333 h 336"/>
                <a:gd name="T40" fmla="*/ 264 w 265"/>
                <a:gd name="T41" fmla="*/ 329 h 336"/>
                <a:gd name="T42" fmla="*/ 265 w 265"/>
                <a:gd name="T43" fmla="*/ 325 h 336"/>
                <a:gd name="T44" fmla="*/ 265 w 265"/>
                <a:gd name="T45" fmla="*/ 108 h 336"/>
                <a:gd name="T46" fmla="*/ 264 w 265"/>
                <a:gd name="T47" fmla="*/ 104 h 336"/>
                <a:gd name="T48" fmla="*/ 261 w 265"/>
                <a:gd name="T49" fmla="*/ 100 h 336"/>
                <a:gd name="T50" fmla="*/ 165 w 265"/>
                <a:gd name="T51" fmla="*/ 3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5" h="336">
                  <a:moveTo>
                    <a:pt x="156" y="108"/>
                  </a:moveTo>
                  <a:lnTo>
                    <a:pt x="156" y="11"/>
                  </a:lnTo>
                  <a:lnTo>
                    <a:pt x="252" y="108"/>
                  </a:lnTo>
                  <a:lnTo>
                    <a:pt x="156" y="108"/>
                  </a:lnTo>
                  <a:close/>
                  <a:moveTo>
                    <a:pt x="165" y="3"/>
                  </a:moveTo>
                  <a:lnTo>
                    <a:pt x="161" y="1"/>
                  </a:lnTo>
                  <a:lnTo>
                    <a:pt x="156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325"/>
                  </a:lnTo>
                  <a:lnTo>
                    <a:pt x="1" y="329"/>
                  </a:lnTo>
                  <a:lnTo>
                    <a:pt x="3" y="333"/>
                  </a:lnTo>
                  <a:lnTo>
                    <a:pt x="7" y="335"/>
                  </a:lnTo>
                  <a:lnTo>
                    <a:pt x="12" y="336"/>
                  </a:lnTo>
                  <a:lnTo>
                    <a:pt x="253" y="336"/>
                  </a:lnTo>
                  <a:lnTo>
                    <a:pt x="258" y="335"/>
                  </a:lnTo>
                  <a:lnTo>
                    <a:pt x="261" y="333"/>
                  </a:lnTo>
                  <a:lnTo>
                    <a:pt x="264" y="329"/>
                  </a:lnTo>
                  <a:lnTo>
                    <a:pt x="265" y="325"/>
                  </a:lnTo>
                  <a:lnTo>
                    <a:pt x="265" y="108"/>
                  </a:lnTo>
                  <a:lnTo>
                    <a:pt x="264" y="104"/>
                  </a:lnTo>
                  <a:lnTo>
                    <a:pt x="261" y="100"/>
                  </a:lnTo>
                  <a:lnTo>
                    <a:pt x="165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Freeform 964">
              <a:extLst>
                <a:ext uri="{FF2B5EF4-FFF2-40B4-BE49-F238E27FC236}">
                  <a16:creationId xmlns:a16="http://schemas.microsoft.com/office/drawing/2014/main" id="{812C0904-BA89-4B53-87D8-D122946175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94338" y="1522413"/>
              <a:ext cx="106363" cy="133350"/>
            </a:xfrm>
            <a:custGeom>
              <a:avLst/>
              <a:gdLst>
                <a:gd name="T0" fmla="*/ 157 w 266"/>
                <a:gd name="T1" fmla="*/ 108 h 336"/>
                <a:gd name="T2" fmla="*/ 157 w 266"/>
                <a:gd name="T3" fmla="*/ 11 h 336"/>
                <a:gd name="T4" fmla="*/ 252 w 266"/>
                <a:gd name="T5" fmla="*/ 108 h 336"/>
                <a:gd name="T6" fmla="*/ 157 w 266"/>
                <a:gd name="T7" fmla="*/ 108 h 336"/>
                <a:gd name="T8" fmla="*/ 166 w 266"/>
                <a:gd name="T9" fmla="*/ 3 h 336"/>
                <a:gd name="T10" fmla="*/ 162 w 266"/>
                <a:gd name="T11" fmla="*/ 1 h 336"/>
                <a:gd name="T12" fmla="*/ 157 w 266"/>
                <a:gd name="T13" fmla="*/ 0 h 336"/>
                <a:gd name="T14" fmla="*/ 13 w 266"/>
                <a:gd name="T15" fmla="*/ 0 h 336"/>
                <a:gd name="T16" fmla="*/ 8 w 266"/>
                <a:gd name="T17" fmla="*/ 1 h 336"/>
                <a:gd name="T18" fmla="*/ 5 w 266"/>
                <a:gd name="T19" fmla="*/ 3 h 336"/>
                <a:gd name="T20" fmla="*/ 1 w 266"/>
                <a:gd name="T21" fmla="*/ 7 h 336"/>
                <a:gd name="T22" fmla="*/ 0 w 266"/>
                <a:gd name="T23" fmla="*/ 11 h 336"/>
                <a:gd name="T24" fmla="*/ 0 w 266"/>
                <a:gd name="T25" fmla="*/ 325 h 336"/>
                <a:gd name="T26" fmla="*/ 1 w 266"/>
                <a:gd name="T27" fmla="*/ 329 h 336"/>
                <a:gd name="T28" fmla="*/ 5 w 266"/>
                <a:gd name="T29" fmla="*/ 333 h 336"/>
                <a:gd name="T30" fmla="*/ 8 w 266"/>
                <a:gd name="T31" fmla="*/ 335 h 336"/>
                <a:gd name="T32" fmla="*/ 13 w 266"/>
                <a:gd name="T33" fmla="*/ 336 h 336"/>
                <a:gd name="T34" fmla="*/ 253 w 266"/>
                <a:gd name="T35" fmla="*/ 336 h 336"/>
                <a:gd name="T36" fmla="*/ 258 w 266"/>
                <a:gd name="T37" fmla="*/ 335 h 336"/>
                <a:gd name="T38" fmla="*/ 263 w 266"/>
                <a:gd name="T39" fmla="*/ 333 h 336"/>
                <a:gd name="T40" fmla="*/ 265 w 266"/>
                <a:gd name="T41" fmla="*/ 329 h 336"/>
                <a:gd name="T42" fmla="*/ 266 w 266"/>
                <a:gd name="T43" fmla="*/ 325 h 336"/>
                <a:gd name="T44" fmla="*/ 266 w 266"/>
                <a:gd name="T45" fmla="*/ 108 h 336"/>
                <a:gd name="T46" fmla="*/ 265 w 266"/>
                <a:gd name="T47" fmla="*/ 104 h 336"/>
                <a:gd name="T48" fmla="*/ 263 w 266"/>
                <a:gd name="T49" fmla="*/ 100 h 336"/>
                <a:gd name="T50" fmla="*/ 166 w 266"/>
                <a:gd name="T51" fmla="*/ 3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6" h="336">
                  <a:moveTo>
                    <a:pt x="157" y="108"/>
                  </a:moveTo>
                  <a:lnTo>
                    <a:pt x="157" y="11"/>
                  </a:lnTo>
                  <a:lnTo>
                    <a:pt x="252" y="108"/>
                  </a:lnTo>
                  <a:lnTo>
                    <a:pt x="157" y="108"/>
                  </a:lnTo>
                  <a:close/>
                  <a:moveTo>
                    <a:pt x="166" y="3"/>
                  </a:moveTo>
                  <a:lnTo>
                    <a:pt x="162" y="1"/>
                  </a:lnTo>
                  <a:lnTo>
                    <a:pt x="157" y="0"/>
                  </a:lnTo>
                  <a:lnTo>
                    <a:pt x="13" y="0"/>
                  </a:lnTo>
                  <a:lnTo>
                    <a:pt x="8" y="1"/>
                  </a:lnTo>
                  <a:lnTo>
                    <a:pt x="5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325"/>
                  </a:lnTo>
                  <a:lnTo>
                    <a:pt x="1" y="329"/>
                  </a:lnTo>
                  <a:lnTo>
                    <a:pt x="5" y="333"/>
                  </a:lnTo>
                  <a:lnTo>
                    <a:pt x="8" y="335"/>
                  </a:lnTo>
                  <a:lnTo>
                    <a:pt x="13" y="336"/>
                  </a:lnTo>
                  <a:lnTo>
                    <a:pt x="253" y="336"/>
                  </a:lnTo>
                  <a:lnTo>
                    <a:pt x="258" y="335"/>
                  </a:lnTo>
                  <a:lnTo>
                    <a:pt x="263" y="333"/>
                  </a:lnTo>
                  <a:lnTo>
                    <a:pt x="265" y="329"/>
                  </a:lnTo>
                  <a:lnTo>
                    <a:pt x="266" y="325"/>
                  </a:lnTo>
                  <a:lnTo>
                    <a:pt x="266" y="108"/>
                  </a:lnTo>
                  <a:lnTo>
                    <a:pt x="265" y="104"/>
                  </a:lnTo>
                  <a:lnTo>
                    <a:pt x="263" y="100"/>
                  </a:lnTo>
                  <a:lnTo>
                    <a:pt x="166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3" name="Oval 82">
            <a:extLst>
              <a:ext uri="{FF2B5EF4-FFF2-40B4-BE49-F238E27FC236}">
                <a16:creationId xmlns:a16="http://schemas.microsoft.com/office/drawing/2014/main" id="{01D6553C-4D3C-4E89-9329-9C9481C08DC5}"/>
              </a:ext>
            </a:extLst>
          </p:cNvPr>
          <p:cNvSpPr/>
          <p:nvPr/>
        </p:nvSpPr>
        <p:spPr>
          <a:xfrm>
            <a:off x="7507194" y="5313334"/>
            <a:ext cx="584775" cy="58477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4" name="Rectángulo 3">
            <a:extLst>
              <a:ext uri="{FF2B5EF4-FFF2-40B4-BE49-F238E27FC236}">
                <a16:creationId xmlns:a16="http://schemas.microsoft.com/office/drawing/2014/main" id="{3BA1F6EC-3E5A-4720-BD8C-17B7B0025C5C}"/>
              </a:ext>
            </a:extLst>
          </p:cNvPr>
          <p:cNvSpPr/>
          <p:nvPr/>
        </p:nvSpPr>
        <p:spPr>
          <a:xfrm>
            <a:off x="8214442" y="5437204"/>
            <a:ext cx="3580596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ntertainment</a:t>
            </a:r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ECBEE905-B3E8-41E4-9850-F7705979660A}"/>
              </a:ext>
            </a:extLst>
          </p:cNvPr>
          <p:cNvGrpSpPr/>
          <p:nvPr/>
        </p:nvGrpSpPr>
        <p:grpSpPr>
          <a:xfrm>
            <a:off x="7672946" y="5462846"/>
            <a:ext cx="239712" cy="285750"/>
            <a:chOff x="5494338" y="1370013"/>
            <a:chExt cx="239712" cy="285750"/>
          </a:xfrm>
          <a:gradFill>
            <a:gsLst>
              <a:gs pos="0">
                <a:srgbClr val="0683B8"/>
              </a:gs>
              <a:gs pos="100000">
                <a:srgbClr val="7030A0"/>
              </a:gs>
            </a:gsLst>
            <a:lin ang="18900000" scaled="1"/>
          </a:gradFill>
        </p:grpSpPr>
        <p:sp>
          <p:nvSpPr>
            <p:cNvPr id="86" name="Freeform 961">
              <a:extLst>
                <a:ext uri="{FF2B5EF4-FFF2-40B4-BE49-F238E27FC236}">
                  <a16:creationId xmlns:a16="http://schemas.microsoft.com/office/drawing/2014/main" id="{D3A7F01D-6C70-45BD-B912-98180C8CDF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29275" y="1370013"/>
              <a:ext cx="104775" cy="133350"/>
            </a:xfrm>
            <a:custGeom>
              <a:avLst/>
              <a:gdLst>
                <a:gd name="T0" fmla="*/ 156 w 265"/>
                <a:gd name="T1" fmla="*/ 108 h 337"/>
                <a:gd name="T2" fmla="*/ 156 w 265"/>
                <a:gd name="T3" fmla="*/ 12 h 337"/>
                <a:gd name="T4" fmla="*/ 252 w 265"/>
                <a:gd name="T5" fmla="*/ 108 h 337"/>
                <a:gd name="T6" fmla="*/ 156 w 265"/>
                <a:gd name="T7" fmla="*/ 108 h 337"/>
                <a:gd name="T8" fmla="*/ 261 w 265"/>
                <a:gd name="T9" fmla="*/ 100 h 337"/>
                <a:gd name="T10" fmla="*/ 165 w 265"/>
                <a:gd name="T11" fmla="*/ 3 h 337"/>
                <a:gd name="T12" fmla="*/ 161 w 265"/>
                <a:gd name="T13" fmla="*/ 1 h 337"/>
                <a:gd name="T14" fmla="*/ 156 w 265"/>
                <a:gd name="T15" fmla="*/ 0 h 337"/>
                <a:gd name="T16" fmla="*/ 12 w 265"/>
                <a:gd name="T17" fmla="*/ 0 h 337"/>
                <a:gd name="T18" fmla="*/ 7 w 265"/>
                <a:gd name="T19" fmla="*/ 1 h 337"/>
                <a:gd name="T20" fmla="*/ 3 w 265"/>
                <a:gd name="T21" fmla="*/ 3 h 337"/>
                <a:gd name="T22" fmla="*/ 1 w 265"/>
                <a:gd name="T23" fmla="*/ 7 h 337"/>
                <a:gd name="T24" fmla="*/ 0 w 265"/>
                <a:gd name="T25" fmla="*/ 12 h 337"/>
                <a:gd name="T26" fmla="*/ 0 w 265"/>
                <a:gd name="T27" fmla="*/ 325 h 337"/>
                <a:gd name="T28" fmla="*/ 1 w 265"/>
                <a:gd name="T29" fmla="*/ 329 h 337"/>
                <a:gd name="T30" fmla="*/ 3 w 265"/>
                <a:gd name="T31" fmla="*/ 334 h 337"/>
                <a:gd name="T32" fmla="*/ 7 w 265"/>
                <a:gd name="T33" fmla="*/ 337 h 337"/>
                <a:gd name="T34" fmla="*/ 12 w 265"/>
                <a:gd name="T35" fmla="*/ 337 h 337"/>
                <a:gd name="T36" fmla="*/ 253 w 265"/>
                <a:gd name="T37" fmla="*/ 337 h 337"/>
                <a:gd name="T38" fmla="*/ 258 w 265"/>
                <a:gd name="T39" fmla="*/ 337 h 337"/>
                <a:gd name="T40" fmla="*/ 261 w 265"/>
                <a:gd name="T41" fmla="*/ 334 h 337"/>
                <a:gd name="T42" fmla="*/ 264 w 265"/>
                <a:gd name="T43" fmla="*/ 329 h 337"/>
                <a:gd name="T44" fmla="*/ 265 w 265"/>
                <a:gd name="T45" fmla="*/ 325 h 337"/>
                <a:gd name="T46" fmla="*/ 265 w 265"/>
                <a:gd name="T47" fmla="*/ 108 h 337"/>
                <a:gd name="T48" fmla="*/ 264 w 265"/>
                <a:gd name="T49" fmla="*/ 104 h 337"/>
                <a:gd name="T50" fmla="*/ 261 w 265"/>
                <a:gd name="T51" fmla="*/ 10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5" h="337">
                  <a:moveTo>
                    <a:pt x="156" y="108"/>
                  </a:moveTo>
                  <a:lnTo>
                    <a:pt x="156" y="12"/>
                  </a:lnTo>
                  <a:lnTo>
                    <a:pt x="252" y="108"/>
                  </a:lnTo>
                  <a:lnTo>
                    <a:pt x="156" y="108"/>
                  </a:lnTo>
                  <a:close/>
                  <a:moveTo>
                    <a:pt x="261" y="100"/>
                  </a:moveTo>
                  <a:lnTo>
                    <a:pt x="165" y="3"/>
                  </a:lnTo>
                  <a:lnTo>
                    <a:pt x="161" y="1"/>
                  </a:lnTo>
                  <a:lnTo>
                    <a:pt x="156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325"/>
                  </a:lnTo>
                  <a:lnTo>
                    <a:pt x="1" y="329"/>
                  </a:lnTo>
                  <a:lnTo>
                    <a:pt x="3" y="334"/>
                  </a:lnTo>
                  <a:lnTo>
                    <a:pt x="7" y="337"/>
                  </a:lnTo>
                  <a:lnTo>
                    <a:pt x="12" y="337"/>
                  </a:lnTo>
                  <a:lnTo>
                    <a:pt x="253" y="337"/>
                  </a:lnTo>
                  <a:lnTo>
                    <a:pt x="258" y="337"/>
                  </a:lnTo>
                  <a:lnTo>
                    <a:pt x="261" y="334"/>
                  </a:lnTo>
                  <a:lnTo>
                    <a:pt x="264" y="329"/>
                  </a:lnTo>
                  <a:lnTo>
                    <a:pt x="265" y="325"/>
                  </a:lnTo>
                  <a:lnTo>
                    <a:pt x="265" y="108"/>
                  </a:lnTo>
                  <a:lnTo>
                    <a:pt x="264" y="104"/>
                  </a:lnTo>
                  <a:lnTo>
                    <a:pt x="261" y="1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Freeform 962">
              <a:extLst>
                <a:ext uri="{FF2B5EF4-FFF2-40B4-BE49-F238E27FC236}">
                  <a16:creationId xmlns:a16="http://schemas.microsoft.com/office/drawing/2014/main" id="{4BCA4630-FC1D-417C-8A4E-EB73227784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94338" y="1370013"/>
              <a:ext cx="106363" cy="133350"/>
            </a:xfrm>
            <a:custGeom>
              <a:avLst/>
              <a:gdLst>
                <a:gd name="T0" fmla="*/ 157 w 266"/>
                <a:gd name="T1" fmla="*/ 108 h 337"/>
                <a:gd name="T2" fmla="*/ 157 w 266"/>
                <a:gd name="T3" fmla="*/ 12 h 337"/>
                <a:gd name="T4" fmla="*/ 252 w 266"/>
                <a:gd name="T5" fmla="*/ 108 h 337"/>
                <a:gd name="T6" fmla="*/ 157 w 266"/>
                <a:gd name="T7" fmla="*/ 108 h 337"/>
                <a:gd name="T8" fmla="*/ 166 w 266"/>
                <a:gd name="T9" fmla="*/ 3 h 337"/>
                <a:gd name="T10" fmla="*/ 162 w 266"/>
                <a:gd name="T11" fmla="*/ 1 h 337"/>
                <a:gd name="T12" fmla="*/ 157 w 266"/>
                <a:gd name="T13" fmla="*/ 0 h 337"/>
                <a:gd name="T14" fmla="*/ 13 w 266"/>
                <a:gd name="T15" fmla="*/ 0 h 337"/>
                <a:gd name="T16" fmla="*/ 8 w 266"/>
                <a:gd name="T17" fmla="*/ 1 h 337"/>
                <a:gd name="T18" fmla="*/ 5 w 266"/>
                <a:gd name="T19" fmla="*/ 3 h 337"/>
                <a:gd name="T20" fmla="*/ 1 w 266"/>
                <a:gd name="T21" fmla="*/ 7 h 337"/>
                <a:gd name="T22" fmla="*/ 0 w 266"/>
                <a:gd name="T23" fmla="*/ 12 h 337"/>
                <a:gd name="T24" fmla="*/ 0 w 266"/>
                <a:gd name="T25" fmla="*/ 325 h 337"/>
                <a:gd name="T26" fmla="*/ 1 w 266"/>
                <a:gd name="T27" fmla="*/ 329 h 337"/>
                <a:gd name="T28" fmla="*/ 5 w 266"/>
                <a:gd name="T29" fmla="*/ 334 h 337"/>
                <a:gd name="T30" fmla="*/ 8 w 266"/>
                <a:gd name="T31" fmla="*/ 337 h 337"/>
                <a:gd name="T32" fmla="*/ 13 w 266"/>
                <a:gd name="T33" fmla="*/ 337 h 337"/>
                <a:gd name="T34" fmla="*/ 253 w 266"/>
                <a:gd name="T35" fmla="*/ 337 h 337"/>
                <a:gd name="T36" fmla="*/ 258 w 266"/>
                <a:gd name="T37" fmla="*/ 337 h 337"/>
                <a:gd name="T38" fmla="*/ 263 w 266"/>
                <a:gd name="T39" fmla="*/ 334 h 337"/>
                <a:gd name="T40" fmla="*/ 265 w 266"/>
                <a:gd name="T41" fmla="*/ 329 h 337"/>
                <a:gd name="T42" fmla="*/ 266 w 266"/>
                <a:gd name="T43" fmla="*/ 325 h 337"/>
                <a:gd name="T44" fmla="*/ 266 w 266"/>
                <a:gd name="T45" fmla="*/ 108 h 337"/>
                <a:gd name="T46" fmla="*/ 265 w 266"/>
                <a:gd name="T47" fmla="*/ 104 h 337"/>
                <a:gd name="T48" fmla="*/ 263 w 266"/>
                <a:gd name="T49" fmla="*/ 100 h 337"/>
                <a:gd name="T50" fmla="*/ 166 w 266"/>
                <a:gd name="T51" fmla="*/ 3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6" h="337">
                  <a:moveTo>
                    <a:pt x="157" y="108"/>
                  </a:moveTo>
                  <a:lnTo>
                    <a:pt x="157" y="12"/>
                  </a:lnTo>
                  <a:lnTo>
                    <a:pt x="252" y="108"/>
                  </a:lnTo>
                  <a:lnTo>
                    <a:pt x="157" y="108"/>
                  </a:lnTo>
                  <a:close/>
                  <a:moveTo>
                    <a:pt x="166" y="3"/>
                  </a:moveTo>
                  <a:lnTo>
                    <a:pt x="162" y="1"/>
                  </a:lnTo>
                  <a:lnTo>
                    <a:pt x="157" y="0"/>
                  </a:lnTo>
                  <a:lnTo>
                    <a:pt x="13" y="0"/>
                  </a:lnTo>
                  <a:lnTo>
                    <a:pt x="8" y="1"/>
                  </a:lnTo>
                  <a:lnTo>
                    <a:pt x="5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325"/>
                  </a:lnTo>
                  <a:lnTo>
                    <a:pt x="1" y="329"/>
                  </a:lnTo>
                  <a:lnTo>
                    <a:pt x="5" y="334"/>
                  </a:lnTo>
                  <a:lnTo>
                    <a:pt x="8" y="337"/>
                  </a:lnTo>
                  <a:lnTo>
                    <a:pt x="13" y="337"/>
                  </a:lnTo>
                  <a:lnTo>
                    <a:pt x="253" y="337"/>
                  </a:lnTo>
                  <a:lnTo>
                    <a:pt x="258" y="337"/>
                  </a:lnTo>
                  <a:lnTo>
                    <a:pt x="263" y="334"/>
                  </a:lnTo>
                  <a:lnTo>
                    <a:pt x="265" y="329"/>
                  </a:lnTo>
                  <a:lnTo>
                    <a:pt x="266" y="325"/>
                  </a:lnTo>
                  <a:lnTo>
                    <a:pt x="266" y="108"/>
                  </a:lnTo>
                  <a:lnTo>
                    <a:pt x="265" y="104"/>
                  </a:lnTo>
                  <a:lnTo>
                    <a:pt x="263" y="100"/>
                  </a:lnTo>
                  <a:lnTo>
                    <a:pt x="166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Freeform 963">
              <a:extLst>
                <a:ext uri="{FF2B5EF4-FFF2-40B4-BE49-F238E27FC236}">
                  <a16:creationId xmlns:a16="http://schemas.microsoft.com/office/drawing/2014/main" id="{2E3327FF-1D01-4B20-A603-BBC694972C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29275" y="1522413"/>
              <a:ext cx="104775" cy="133350"/>
            </a:xfrm>
            <a:custGeom>
              <a:avLst/>
              <a:gdLst>
                <a:gd name="T0" fmla="*/ 156 w 265"/>
                <a:gd name="T1" fmla="*/ 108 h 336"/>
                <a:gd name="T2" fmla="*/ 156 w 265"/>
                <a:gd name="T3" fmla="*/ 11 h 336"/>
                <a:gd name="T4" fmla="*/ 252 w 265"/>
                <a:gd name="T5" fmla="*/ 108 h 336"/>
                <a:gd name="T6" fmla="*/ 156 w 265"/>
                <a:gd name="T7" fmla="*/ 108 h 336"/>
                <a:gd name="T8" fmla="*/ 165 w 265"/>
                <a:gd name="T9" fmla="*/ 3 h 336"/>
                <a:gd name="T10" fmla="*/ 161 w 265"/>
                <a:gd name="T11" fmla="*/ 1 h 336"/>
                <a:gd name="T12" fmla="*/ 156 w 265"/>
                <a:gd name="T13" fmla="*/ 0 h 336"/>
                <a:gd name="T14" fmla="*/ 12 w 265"/>
                <a:gd name="T15" fmla="*/ 0 h 336"/>
                <a:gd name="T16" fmla="*/ 7 w 265"/>
                <a:gd name="T17" fmla="*/ 1 h 336"/>
                <a:gd name="T18" fmla="*/ 3 w 265"/>
                <a:gd name="T19" fmla="*/ 3 h 336"/>
                <a:gd name="T20" fmla="*/ 1 w 265"/>
                <a:gd name="T21" fmla="*/ 7 h 336"/>
                <a:gd name="T22" fmla="*/ 0 w 265"/>
                <a:gd name="T23" fmla="*/ 11 h 336"/>
                <a:gd name="T24" fmla="*/ 0 w 265"/>
                <a:gd name="T25" fmla="*/ 325 h 336"/>
                <a:gd name="T26" fmla="*/ 1 w 265"/>
                <a:gd name="T27" fmla="*/ 329 h 336"/>
                <a:gd name="T28" fmla="*/ 3 w 265"/>
                <a:gd name="T29" fmla="*/ 333 h 336"/>
                <a:gd name="T30" fmla="*/ 7 w 265"/>
                <a:gd name="T31" fmla="*/ 335 h 336"/>
                <a:gd name="T32" fmla="*/ 12 w 265"/>
                <a:gd name="T33" fmla="*/ 336 h 336"/>
                <a:gd name="T34" fmla="*/ 253 w 265"/>
                <a:gd name="T35" fmla="*/ 336 h 336"/>
                <a:gd name="T36" fmla="*/ 258 w 265"/>
                <a:gd name="T37" fmla="*/ 335 h 336"/>
                <a:gd name="T38" fmla="*/ 261 w 265"/>
                <a:gd name="T39" fmla="*/ 333 h 336"/>
                <a:gd name="T40" fmla="*/ 264 w 265"/>
                <a:gd name="T41" fmla="*/ 329 h 336"/>
                <a:gd name="T42" fmla="*/ 265 w 265"/>
                <a:gd name="T43" fmla="*/ 325 h 336"/>
                <a:gd name="T44" fmla="*/ 265 w 265"/>
                <a:gd name="T45" fmla="*/ 108 h 336"/>
                <a:gd name="T46" fmla="*/ 264 w 265"/>
                <a:gd name="T47" fmla="*/ 104 h 336"/>
                <a:gd name="T48" fmla="*/ 261 w 265"/>
                <a:gd name="T49" fmla="*/ 100 h 336"/>
                <a:gd name="T50" fmla="*/ 165 w 265"/>
                <a:gd name="T51" fmla="*/ 3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5" h="336">
                  <a:moveTo>
                    <a:pt x="156" y="108"/>
                  </a:moveTo>
                  <a:lnTo>
                    <a:pt x="156" y="11"/>
                  </a:lnTo>
                  <a:lnTo>
                    <a:pt x="252" y="108"/>
                  </a:lnTo>
                  <a:lnTo>
                    <a:pt x="156" y="108"/>
                  </a:lnTo>
                  <a:close/>
                  <a:moveTo>
                    <a:pt x="165" y="3"/>
                  </a:moveTo>
                  <a:lnTo>
                    <a:pt x="161" y="1"/>
                  </a:lnTo>
                  <a:lnTo>
                    <a:pt x="156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325"/>
                  </a:lnTo>
                  <a:lnTo>
                    <a:pt x="1" y="329"/>
                  </a:lnTo>
                  <a:lnTo>
                    <a:pt x="3" y="333"/>
                  </a:lnTo>
                  <a:lnTo>
                    <a:pt x="7" y="335"/>
                  </a:lnTo>
                  <a:lnTo>
                    <a:pt x="12" y="336"/>
                  </a:lnTo>
                  <a:lnTo>
                    <a:pt x="253" y="336"/>
                  </a:lnTo>
                  <a:lnTo>
                    <a:pt x="258" y="335"/>
                  </a:lnTo>
                  <a:lnTo>
                    <a:pt x="261" y="333"/>
                  </a:lnTo>
                  <a:lnTo>
                    <a:pt x="264" y="329"/>
                  </a:lnTo>
                  <a:lnTo>
                    <a:pt x="265" y="325"/>
                  </a:lnTo>
                  <a:lnTo>
                    <a:pt x="265" y="108"/>
                  </a:lnTo>
                  <a:lnTo>
                    <a:pt x="264" y="104"/>
                  </a:lnTo>
                  <a:lnTo>
                    <a:pt x="261" y="100"/>
                  </a:lnTo>
                  <a:lnTo>
                    <a:pt x="165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Freeform 964">
              <a:extLst>
                <a:ext uri="{FF2B5EF4-FFF2-40B4-BE49-F238E27FC236}">
                  <a16:creationId xmlns:a16="http://schemas.microsoft.com/office/drawing/2014/main" id="{E77AA799-6FE1-4DBB-BE29-6501E8572F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94338" y="1522413"/>
              <a:ext cx="106363" cy="133350"/>
            </a:xfrm>
            <a:custGeom>
              <a:avLst/>
              <a:gdLst>
                <a:gd name="T0" fmla="*/ 157 w 266"/>
                <a:gd name="T1" fmla="*/ 108 h 336"/>
                <a:gd name="T2" fmla="*/ 157 w 266"/>
                <a:gd name="T3" fmla="*/ 11 h 336"/>
                <a:gd name="T4" fmla="*/ 252 w 266"/>
                <a:gd name="T5" fmla="*/ 108 h 336"/>
                <a:gd name="T6" fmla="*/ 157 w 266"/>
                <a:gd name="T7" fmla="*/ 108 h 336"/>
                <a:gd name="T8" fmla="*/ 166 w 266"/>
                <a:gd name="T9" fmla="*/ 3 h 336"/>
                <a:gd name="T10" fmla="*/ 162 w 266"/>
                <a:gd name="T11" fmla="*/ 1 h 336"/>
                <a:gd name="T12" fmla="*/ 157 w 266"/>
                <a:gd name="T13" fmla="*/ 0 h 336"/>
                <a:gd name="T14" fmla="*/ 13 w 266"/>
                <a:gd name="T15" fmla="*/ 0 h 336"/>
                <a:gd name="T16" fmla="*/ 8 w 266"/>
                <a:gd name="T17" fmla="*/ 1 h 336"/>
                <a:gd name="T18" fmla="*/ 5 w 266"/>
                <a:gd name="T19" fmla="*/ 3 h 336"/>
                <a:gd name="T20" fmla="*/ 1 w 266"/>
                <a:gd name="T21" fmla="*/ 7 h 336"/>
                <a:gd name="T22" fmla="*/ 0 w 266"/>
                <a:gd name="T23" fmla="*/ 11 h 336"/>
                <a:gd name="T24" fmla="*/ 0 w 266"/>
                <a:gd name="T25" fmla="*/ 325 h 336"/>
                <a:gd name="T26" fmla="*/ 1 w 266"/>
                <a:gd name="T27" fmla="*/ 329 h 336"/>
                <a:gd name="T28" fmla="*/ 5 w 266"/>
                <a:gd name="T29" fmla="*/ 333 h 336"/>
                <a:gd name="T30" fmla="*/ 8 w 266"/>
                <a:gd name="T31" fmla="*/ 335 h 336"/>
                <a:gd name="T32" fmla="*/ 13 w 266"/>
                <a:gd name="T33" fmla="*/ 336 h 336"/>
                <a:gd name="T34" fmla="*/ 253 w 266"/>
                <a:gd name="T35" fmla="*/ 336 h 336"/>
                <a:gd name="T36" fmla="*/ 258 w 266"/>
                <a:gd name="T37" fmla="*/ 335 h 336"/>
                <a:gd name="T38" fmla="*/ 263 w 266"/>
                <a:gd name="T39" fmla="*/ 333 h 336"/>
                <a:gd name="T40" fmla="*/ 265 w 266"/>
                <a:gd name="T41" fmla="*/ 329 h 336"/>
                <a:gd name="T42" fmla="*/ 266 w 266"/>
                <a:gd name="T43" fmla="*/ 325 h 336"/>
                <a:gd name="T44" fmla="*/ 266 w 266"/>
                <a:gd name="T45" fmla="*/ 108 h 336"/>
                <a:gd name="T46" fmla="*/ 265 w 266"/>
                <a:gd name="T47" fmla="*/ 104 h 336"/>
                <a:gd name="T48" fmla="*/ 263 w 266"/>
                <a:gd name="T49" fmla="*/ 100 h 336"/>
                <a:gd name="T50" fmla="*/ 166 w 266"/>
                <a:gd name="T51" fmla="*/ 3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6" h="336">
                  <a:moveTo>
                    <a:pt x="157" y="108"/>
                  </a:moveTo>
                  <a:lnTo>
                    <a:pt x="157" y="11"/>
                  </a:lnTo>
                  <a:lnTo>
                    <a:pt x="252" y="108"/>
                  </a:lnTo>
                  <a:lnTo>
                    <a:pt x="157" y="108"/>
                  </a:lnTo>
                  <a:close/>
                  <a:moveTo>
                    <a:pt x="166" y="3"/>
                  </a:moveTo>
                  <a:lnTo>
                    <a:pt x="162" y="1"/>
                  </a:lnTo>
                  <a:lnTo>
                    <a:pt x="157" y="0"/>
                  </a:lnTo>
                  <a:lnTo>
                    <a:pt x="13" y="0"/>
                  </a:lnTo>
                  <a:lnTo>
                    <a:pt x="8" y="1"/>
                  </a:lnTo>
                  <a:lnTo>
                    <a:pt x="5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325"/>
                  </a:lnTo>
                  <a:lnTo>
                    <a:pt x="1" y="329"/>
                  </a:lnTo>
                  <a:lnTo>
                    <a:pt x="5" y="333"/>
                  </a:lnTo>
                  <a:lnTo>
                    <a:pt x="8" y="335"/>
                  </a:lnTo>
                  <a:lnTo>
                    <a:pt x="13" y="336"/>
                  </a:lnTo>
                  <a:lnTo>
                    <a:pt x="253" y="336"/>
                  </a:lnTo>
                  <a:lnTo>
                    <a:pt x="258" y="335"/>
                  </a:lnTo>
                  <a:lnTo>
                    <a:pt x="263" y="333"/>
                  </a:lnTo>
                  <a:lnTo>
                    <a:pt x="265" y="329"/>
                  </a:lnTo>
                  <a:lnTo>
                    <a:pt x="266" y="325"/>
                  </a:lnTo>
                  <a:lnTo>
                    <a:pt x="266" y="108"/>
                  </a:lnTo>
                  <a:lnTo>
                    <a:pt x="265" y="104"/>
                  </a:lnTo>
                  <a:lnTo>
                    <a:pt x="263" y="100"/>
                  </a:lnTo>
                  <a:lnTo>
                    <a:pt x="166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0329948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83B8"/>
            </a:gs>
            <a:gs pos="100000">
              <a:srgbClr val="7030A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E5FBACCA-44D2-4B34-91D5-58F9E56D4DCC}"/>
              </a:ext>
            </a:extLst>
          </p:cNvPr>
          <p:cNvSpPr/>
          <p:nvPr/>
        </p:nvSpPr>
        <p:spPr>
          <a:xfrm>
            <a:off x="0" y="5879913"/>
            <a:ext cx="12192000" cy="9848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3E961F3-288C-457C-9BA2-C911A7DF266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885104" y="1"/>
            <a:ext cx="2306896" cy="1500603"/>
          </a:xfrm>
          <a:prstGeom prst="rect">
            <a:avLst/>
          </a:prstGeom>
        </p:spPr>
      </p:pic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5C9DD4C0-72B9-4464-9AE6-96C554B321BF}"/>
              </a:ext>
            </a:extLst>
          </p:cNvPr>
          <p:cNvSpPr/>
          <p:nvPr/>
        </p:nvSpPr>
        <p:spPr>
          <a:xfrm>
            <a:off x="618640" y="4088"/>
            <a:ext cx="4093028" cy="2046514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9" name="Rectángulo 3">
            <a:extLst>
              <a:ext uri="{FF2B5EF4-FFF2-40B4-BE49-F238E27FC236}">
                <a16:creationId xmlns:a16="http://schemas.microsoft.com/office/drawing/2014/main" id="{3B8DB81C-BE0D-47E7-A849-F8ECD5B8693F}"/>
              </a:ext>
            </a:extLst>
          </p:cNvPr>
          <p:cNvSpPr/>
          <p:nvPr/>
        </p:nvSpPr>
        <p:spPr>
          <a:xfrm>
            <a:off x="414596" y="1692426"/>
            <a:ext cx="113628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EE FOR YOURSELF!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ABF7771B-460D-43AF-8B6D-AB4FC823A8F1}"/>
              </a:ext>
            </a:extLst>
          </p:cNvPr>
          <p:cNvGrpSpPr/>
          <p:nvPr/>
        </p:nvGrpSpPr>
        <p:grpSpPr>
          <a:xfrm>
            <a:off x="384315" y="217461"/>
            <a:ext cx="7606748" cy="6381016"/>
            <a:chOff x="904956" y="2489200"/>
            <a:chExt cx="4693260" cy="3937000"/>
          </a:xfrm>
        </p:grpSpPr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7F205E5E-83C5-44D6-8EC6-140BE8B6B44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4956" y="2489200"/>
              <a:ext cx="4693260" cy="3937000"/>
            </a:xfrm>
            <a:prstGeom prst="rect">
              <a:avLst/>
            </a:prstGeom>
          </p:spPr>
        </p:pic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D9C4CE78-ABC9-4F06-87FB-F12378099317}"/>
                </a:ext>
              </a:extLst>
            </p:cNvPr>
            <p:cNvSpPr/>
            <p:nvPr/>
          </p:nvSpPr>
          <p:spPr>
            <a:xfrm>
              <a:off x="2032386" y="5441315"/>
              <a:ext cx="2438400" cy="584200"/>
            </a:xfrm>
            <a:prstGeom prst="roundRect">
              <a:avLst>
                <a:gd name="adj" fmla="val 50000"/>
              </a:avLst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solidFill>
                    <a:prstClr val="whit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NEWS API</a:t>
              </a:r>
              <a:endParaRPr kumimoji="0" lang="en-ID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DD5A71F8-69B1-4888-AC14-982946131003}"/>
              </a:ext>
            </a:extLst>
          </p:cNvPr>
          <p:cNvGrpSpPr/>
          <p:nvPr/>
        </p:nvGrpSpPr>
        <p:grpSpPr>
          <a:xfrm>
            <a:off x="8520279" y="87700"/>
            <a:ext cx="2920947" cy="6640538"/>
            <a:chOff x="6593786" y="2566132"/>
            <a:chExt cx="4693260" cy="3937000"/>
          </a:xfrm>
        </p:grpSpPr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E255DE7B-C434-4B66-A67E-2421BF343F1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93786" y="2566132"/>
              <a:ext cx="4693260" cy="3937000"/>
            </a:xfrm>
            <a:prstGeom prst="rect">
              <a:avLst/>
            </a:prstGeom>
          </p:spPr>
        </p:pic>
        <p:sp>
          <p:nvSpPr>
            <p:cNvPr id="52" name="Rectangle: Rounded Corners 51">
              <a:extLst>
                <a:ext uri="{FF2B5EF4-FFF2-40B4-BE49-F238E27FC236}">
                  <a16:creationId xmlns:a16="http://schemas.microsoft.com/office/drawing/2014/main" id="{546E99A8-FE8C-41C7-BEFD-C1822DC53960}"/>
                </a:ext>
              </a:extLst>
            </p:cNvPr>
            <p:cNvSpPr/>
            <p:nvPr/>
          </p:nvSpPr>
          <p:spPr>
            <a:xfrm>
              <a:off x="7734832" y="5554646"/>
              <a:ext cx="2438401" cy="400973"/>
            </a:xfrm>
            <a:prstGeom prst="roundRect">
              <a:avLst>
                <a:gd name="adj" fmla="val 50000"/>
              </a:avLst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APK</a:t>
              </a:r>
              <a:endParaRPr kumimoji="0" lang="en-ID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0FB7024D-A754-4DEA-91AD-E46C85D3F1D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50774" y="590604"/>
            <a:ext cx="6804709" cy="3809115"/>
          </a:xfrm>
          <a:prstGeom prst="rect">
            <a:avLst/>
          </a:prstGeom>
        </p:spPr>
      </p:pic>
      <p:pic>
        <p:nvPicPr>
          <p:cNvPr id="12" name="Picture 11" descr="Graphical user interface, application, website&#10;&#10;Description automatically generated">
            <a:extLst>
              <a:ext uri="{FF2B5EF4-FFF2-40B4-BE49-F238E27FC236}">
                <a16:creationId xmlns:a16="http://schemas.microsoft.com/office/drawing/2014/main" id="{90CAF624-0B89-4DF6-A755-F0F0A45871E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8525" y="381812"/>
            <a:ext cx="2800061" cy="4198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837683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83B8"/>
            </a:gs>
            <a:gs pos="100000">
              <a:srgbClr val="7030A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B3E961F3-288C-457C-9BA2-C911A7DF266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885104" y="1"/>
            <a:ext cx="2306896" cy="1500603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E5FBACCA-44D2-4B34-91D5-58F9E56D4DCC}"/>
              </a:ext>
            </a:extLst>
          </p:cNvPr>
          <p:cNvSpPr/>
          <p:nvPr/>
        </p:nvSpPr>
        <p:spPr>
          <a:xfrm>
            <a:off x="0" y="5879913"/>
            <a:ext cx="12192000" cy="9848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DD5A71F8-69B1-4888-AC14-982946131003}"/>
              </a:ext>
            </a:extLst>
          </p:cNvPr>
          <p:cNvGrpSpPr/>
          <p:nvPr/>
        </p:nvGrpSpPr>
        <p:grpSpPr>
          <a:xfrm>
            <a:off x="8347862" y="191069"/>
            <a:ext cx="2939184" cy="7765576"/>
            <a:chOff x="6593786" y="2489200"/>
            <a:chExt cx="4693260" cy="3937000"/>
          </a:xfrm>
        </p:grpSpPr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E255DE7B-C434-4B66-A67E-2421BF343F1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93786" y="2489200"/>
              <a:ext cx="4693260" cy="3937000"/>
            </a:xfrm>
            <a:prstGeom prst="rect">
              <a:avLst/>
            </a:prstGeom>
          </p:spPr>
        </p:pic>
        <p:sp>
          <p:nvSpPr>
            <p:cNvPr id="52" name="Rectangle: Rounded Corners 51">
              <a:extLst>
                <a:ext uri="{FF2B5EF4-FFF2-40B4-BE49-F238E27FC236}">
                  <a16:creationId xmlns:a16="http://schemas.microsoft.com/office/drawing/2014/main" id="{546E99A8-FE8C-41C7-BEFD-C1822DC53960}"/>
                </a:ext>
              </a:extLst>
            </p:cNvPr>
            <p:cNvSpPr/>
            <p:nvPr/>
          </p:nvSpPr>
          <p:spPr>
            <a:xfrm>
              <a:off x="7721216" y="5441315"/>
              <a:ext cx="2438401" cy="331025"/>
            </a:xfrm>
            <a:prstGeom prst="roundRect">
              <a:avLst>
                <a:gd name="adj" fmla="val 50000"/>
              </a:avLst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AFTER</a:t>
              </a:r>
              <a:endParaRPr kumimoji="0" lang="en-ID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7" name="Rectángulo 3">
            <a:extLst>
              <a:ext uri="{FF2B5EF4-FFF2-40B4-BE49-F238E27FC236}">
                <a16:creationId xmlns:a16="http://schemas.microsoft.com/office/drawing/2014/main" id="{33CCE3E9-AA96-47FE-8409-0E97181EC367}"/>
              </a:ext>
            </a:extLst>
          </p:cNvPr>
          <p:cNvSpPr/>
          <p:nvPr/>
        </p:nvSpPr>
        <p:spPr>
          <a:xfrm>
            <a:off x="94789" y="11039"/>
            <a:ext cx="1136280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32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iew full details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. 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ause </a:t>
            </a:r>
            <a:r>
              <a:rPr lang="en-US" sz="1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oogle news API is not free,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we wrote some code that get full details for free </a:t>
            </a:r>
            <a:r>
              <a:rPr lang="en-US" sz="1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  <a:sym typeface="Wingdings" panose="05000000000000000000" pitchFamily="2" charset="2"/>
              </a:rPr>
              <a:t>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5C9DD4C0-72B9-4464-9AE6-96C554B321BF}"/>
              </a:ext>
            </a:extLst>
          </p:cNvPr>
          <p:cNvSpPr/>
          <p:nvPr/>
        </p:nvSpPr>
        <p:spPr>
          <a:xfrm>
            <a:off x="1205072" y="57577"/>
            <a:ext cx="4093028" cy="2046514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 descr="Text&#10;&#10;Description automatically generated">
            <a:extLst>
              <a:ext uri="{FF2B5EF4-FFF2-40B4-BE49-F238E27FC236}">
                <a16:creationId xmlns:a16="http://schemas.microsoft.com/office/drawing/2014/main" id="{55CD1DC4-1B5B-4413-AFBD-610FD744868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806" y="503481"/>
            <a:ext cx="2843303" cy="5064806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F6F0BEFB-60CD-468D-A68D-F84D949D8708}"/>
              </a:ext>
            </a:extLst>
          </p:cNvPr>
          <p:cNvGrpSpPr/>
          <p:nvPr/>
        </p:nvGrpSpPr>
        <p:grpSpPr>
          <a:xfrm>
            <a:off x="5172895" y="191069"/>
            <a:ext cx="2939184" cy="7765576"/>
            <a:chOff x="6593786" y="2489200"/>
            <a:chExt cx="4693260" cy="3937000"/>
          </a:xfrm>
        </p:grpSpPr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5B8290A5-AB9A-4600-AA14-F5A95B66F28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93786" y="2489200"/>
              <a:ext cx="4693260" cy="3937000"/>
            </a:xfrm>
            <a:prstGeom prst="rect">
              <a:avLst/>
            </a:prstGeom>
          </p:spPr>
        </p:pic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EEC89AEC-E2F7-45F0-B79B-0B0B01EFB675}"/>
                </a:ext>
              </a:extLst>
            </p:cNvPr>
            <p:cNvSpPr/>
            <p:nvPr/>
          </p:nvSpPr>
          <p:spPr>
            <a:xfrm>
              <a:off x="7721216" y="5441315"/>
              <a:ext cx="2438401" cy="331025"/>
            </a:xfrm>
            <a:prstGeom prst="roundRect">
              <a:avLst>
                <a:gd name="adj" fmla="val 50000"/>
              </a:avLst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Before</a:t>
              </a:r>
              <a:endParaRPr kumimoji="0" lang="en-ID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52D338C8-A679-422F-A5FB-D3F25694746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6211" y="503481"/>
            <a:ext cx="2854924" cy="5064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3722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split orient="vert"/>
      </p:transition>
    </mc:Choice>
    <mc:Fallback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5"/>
          <p:cNvSpPr>
            <a:spLocks noChangeArrowheads="1"/>
          </p:cNvSpPr>
          <p:nvPr/>
        </p:nvSpPr>
        <p:spPr bwMode="auto">
          <a:xfrm>
            <a:off x="0" y="-1"/>
            <a:ext cx="12188891" cy="5643661"/>
          </a:xfrm>
          <a:prstGeom prst="rect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2" name="Group 21"/>
          <p:cNvGrpSpPr/>
          <p:nvPr/>
        </p:nvGrpSpPr>
        <p:grpSpPr>
          <a:xfrm flipH="1">
            <a:off x="550419" y="3396773"/>
            <a:ext cx="11367625" cy="2054313"/>
            <a:chOff x="550419" y="3396773"/>
            <a:chExt cx="11367625" cy="2054313"/>
          </a:xfrm>
        </p:grpSpPr>
        <p:sp>
          <p:nvSpPr>
            <p:cNvPr id="23" name="Oval 58"/>
            <p:cNvSpPr>
              <a:spLocks noChangeArrowheads="1"/>
            </p:cNvSpPr>
            <p:nvPr/>
          </p:nvSpPr>
          <p:spPr bwMode="auto">
            <a:xfrm>
              <a:off x="3392376" y="5184522"/>
              <a:ext cx="72644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Oval 59"/>
            <p:cNvSpPr>
              <a:spLocks noChangeArrowheads="1"/>
            </p:cNvSpPr>
            <p:nvPr/>
          </p:nvSpPr>
          <p:spPr bwMode="auto">
            <a:xfrm>
              <a:off x="5251528" y="5275374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Oval 60"/>
            <p:cNvSpPr>
              <a:spLocks noChangeArrowheads="1"/>
            </p:cNvSpPr>
            <p:nvPr/>
          </p:nvSpPr>
          <p:spPr bwMode="auto">
            <a:xfrm>
              <a:off x="5415075" y="3921423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Oval 61"/>
            <p:cNvSpPr>
              <a:spLocks noChangeArrowheads="1"/>
            </p:cNvSpPr>
            <p:nvPr/>
          </p:nvSpPr>
          <p:spPr bwMode="auto">
            <a:xfrm>
              <a:off x="814298" y="4182814"/>
              <a:ext cx="72644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Oval 62"/>
            <p:cNvSpPr>
              <a:spLocks noChangeArrowheads="1"/>
            </p:cNvSpPr>
            <p:nvPr/>
          </p:nvSpPr>
          <p:spPr bwMode="auto">
            <a:xfrm>
              <a:off x="1949695" y="4214689"/>
              <a:ext cx="7533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Oval 63"/>
            <p:cNvSpPr>
              <a:spLocks noChangeArrowheads="1"/>
            </p:cNvSpPr>
            <p:nvPr/>
          </p:nvSpPr>
          <p:spPr bwMode="auto">
            <a:xfrm>
              <a:off x="3917805" y="4007520"/>
              <a:ext cx="76680" cy="73989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Oval 64"/>
            <p:cNvSpPr>
              <a:spLocks noChangeArrowheads="1"/>
            </p:cNvSpPr>
            <p:nvPr/>
          </p:nvSpPr>
          <p:spPr bwMode="auto">
            <a:xfrm>
              <a:off x="4745126" y="3741159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Oval 65"/>
            <p:cNvSpPr>
              <a:spLocks noChangeArrowheads="1"/>
            </p:cNvSpPr>
            <p:nvPr/>
          </p:nvSpPr>
          <p:spPr bwMode="auto">
            <a:xfrm>
              <a:off x="6254515" y="3396773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Oval 66"/>
            <p:cNvSpPr>
              <a:spLocks noChangeArrowheads="1"/>
            </p:cNvSpPr>
            <p:nvPr/>
          </p:nvSpPr>
          <p:spPr bwMode="auto">
            <a:xfrm>
              <a:off x="550419" y="4656884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Oval 67"/>
            <p:cNvSpPr>
              <a:spLocks noChangeArrowheads="1"/>
            </p:cNvSpPr>
            <p:nvPr/>
          </p:nvSpPr>
          <p:spPr bwMode="auto">
            <a:xfrm>
              <a:off x="1206347" y="5024842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Oval 68"/>
            <p:cNvSpPr>
              <a:spLocks noChangeArrowheads="1"/>
            </p:cNvSpPr>
            <p:nvPr/>
          </p:nvSpPr>
          <p:spPr bwMode="auto">
            <a:xfrm>
              <a:off x="6664818" y="3816493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Oval 69"/>
            <p:cNvSpPr>
              <a:spLocks noChangeArrowheads="1"/>
            </p:cNvSpPr>
            <p:nvPr/>
          </p:nvSpPr>
          <p:spPr bwMode="auto">
            <a:xfrm>
              <a:off x="11845400" y="4214689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Oval 70"/>
            <p:cNvSpPr>
              <a:spLocks noChangeArrowheads="1"/>
            </p:cNvSpPr>
            <p:nvPr/>
          </p:nvSpPr>
          <p:spPr bwMode="auto">
            <a:xfrm>
              <a:off x="10592967" y="3603943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Oval 71"/>
            <p:cNvSpPr>
              <a:spLocks noChangeArrowheads="1"/>
            </p:cNvSpPr>
            <p:nvPr/>
          </p:nvSpPr>
          <p:spPr bwMode="auto">
            <a:xfrm>
              <a:off x="4525570" y="5066965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Oval 72"/>
            <p:cNvSpPr>
              <a:spLocks noChangeArrowheads="1"/>
            </p:cNvSpPr>
            <p:nvPr/>
          </p:nvSpPr>
          <p:spPr bwMode="auto">
            <a:xfrm>
              <a:off x="6475176" y="5044751"/>
              <a:ext cx="76680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Oval 73"/>
            <p:cNvSpPr>
              <a:spLocks noChangeArrowheads="1"/>
            </p:cNvSpPr>
            <p:nvPr/>
          </p:nvSpPr>
          <p:spPr bwMode="auto">
            <a:xfrm>
              <a:off x="2630625" y="5069082"/>
              <a:ext cx="7264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Oval 74"/>
            <p:cNvSpPr>
              <a:spLocks noChangeArrowheads="1"/>
            </p:cNvSpPr>
            <p:nvPr/>
          </p:nvSpPr>
          <p:spPr bwMode="auto">
            <a:xfrm>
              <a:off x="2936214" y="4258356"/>
              <a:ext cx="7264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Oval 75"/>
            <p:cNvSpPr>
              <a:spLocks noChangeArrowheads="1"/>
            </p:cNvSpPr>
            <p:nvPr/>
          </p:nvSpPr>
          <p:spPr bwMode="auto">
            <a:xfrm>
              <a:off x="1948349" y="5378442"/>
              <a:ext cx="76680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Oval 76"/>
            <p:cNvSpPr>
              <a:spLocks noChangeArrowheads="1"/>
            </p:cNvSpPr>
            <p:nvPr/>
          </p:nvSpPr>
          <p:spPr bwMode="auto">
            <a:xfrm>
              <a:off x="11549444" y="3846089"/>
              <a:ext cx="73989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Oval 77"/>
            <p:cNvSpPr>
              <a:spLocks noChangeArrowheads="1"/>
            </p:cNvSpPr>
            <p:nvPr/>
          </p:nvSpPr>
          <p:spPr bwMode="auto">
            <a:xfrm>
              <a:off x="6738807" y="4421859"/>
              <a:ext cx="7533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Oval 78"/>
            <p:cNvSpPr>
              <a:spLocks noChangeArrowheads="1"/>
            </p:cNvSpPr>
            <p:nvPr/>
          </p:nvSpPr>
          <p:spPr bwMode="auto">
            <a:xfrm>
              <a:off x="10812244" y="4119176"/>
              <a:ext cx="76680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Oval 79"/>
            <p:cNvSpPr>
              <a:spLocks noChangeArrowheads="1"/>
            </p:cNvSpPr>
            <p:nvPr/>
          </p:nvSpPr>
          <p:spPr bwMode="auto">
            <a:xfrm>
              <a:off x="7717986" y="4134900"/>
              <a:ext cx="73989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" name="Rectangle 48"/>
          <p:cNvSpPr>
            <a:spLocks noChangeArrowheads="1"/>
          </p:cNvSpPr>
          <p:nvPr/>
        </p:nvSpPr>
        <p:spPr bwMode="auto">
          <a:xfrm>
            <a:off x="3110" y="5643660"/>
            <a:ext cx="12188890" cy="1214340"/>
          </a:xfrm>
          <a:prstGeom prst="rect">
            <a:avLst/>
          </a:prstGeom>
          <a:gradFill flip="none" rotWithShape="1">
            <a:gsLst>
              <a:gs pos="100000">
                <a:srgbClr val="070C1E"/>
              </a:gs>
              <a:gs pos="0">
                <a:srgbClr val="122141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10" name="Group 109"/>
          <p:cNvGrpSpPr/>
          <p:nvPr/>
        </p:nvGrpSpPr>
        <p:grpSpPr>
          <a:xfrm>
            <a:off x="-1328128" y="4154461"/>
            <a:ext cx="7405903" cy="2764502"/>
            <a:chOff x="-3347622" y="4154461"/>
            <a:chExt cx="7405903" cy="2764502"/>
          </a:xfrm>
        </p:grpSpPr>
        <p:sp>
          <p:nvSpPr>
            <p:cNvPr id="13" name="Freeform 6"/>
            <p:cNvSpPr>
              <a:spLocks/>
            </p:cNvSpPr>
            <p:nvPr/>
          </p:nvSpPr>
          <p:spPr bwMode="auto">
            <a:xfrm>
              <a:off x="-1530125" y="4869259"/>
              <a:ext cx="1559618" cy="774401"/>
            </a:xfrm>
            <a:custGeom>
              <a:avLst/>
              <a:gdLst>
                <a:gd name="T0" fmla="*/ 0 w 1442"/>
                <a:gd name="T1" fmla="*/ 716 h 716"/>
                <a:gd name="T2" fmla="*/ 1442 w 1442"/>
                <a:gd name="T3" fmla="*/ 716 h 716"/>
                <a:gd name="T4" fmla="*/ 725 w 1442"/>
                <a:gd name="T5" fmla="*/ 0 h 716"/>
                <a:gd name="T6" fmla="*/ 0 w 1442"/>
                <a:gd name="T7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42" h="716">
                  <a:moveTo>
                    <a:pt x="0" y="716"/>
                  </a:moveTo>
                  <a:lnTo>
                    <a:pt x="1442" y="716"/>
                  </a:lnTo>
                  <a:lnTo>
                    <a:pt x="725" y="0"/>
                  </a:lnTo>
                  <a:lnTo>
                    <a:pt x="0" y="716"/>
                  </a:lnTo>
                  <a:close/>
                </a:path>
              </a:pathLst>
            </a:custGeom>
            <a:gradFill flip="none" rotWithShape="1">
              <a:gsLst>
                <a:gs pos="43000">
                  <a:srgbClr val="09192F">
                    <a:alpha val="73000"/>
                  </a:srgbClr>
                </a:gs>
                <a:gs pos="100000">
                  <a:srgbClr val="125680"/>
                </a:gs>
                <a:gs pos="0">
                  <a:srgbClr val="070C1E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7"/>
            <p:cNvSpPr>
              <a:spLocks/>
            </p:cNvSpPr>
            <p:nvPr/>
          </p:nvSpPr>
          <p:spPr bwMode="auto">
            <a:xfrm>
              <a:off x="-3347622" y="4154461"/>
              <a:ext cx="2995886" cy="1489199"/>
            </a:xfrm>
            <a:custGeom>
              <a:avLst/>
              <a:gdLst>
                <a:gd name="T0" fmla="*/ 0 w 2227"/>
                <a:gd name="T1" fmla="*/ 1107 h 1107"/>
                <a:gd name="T2" fmla="*/ 2227 w 2227"/>
                <a:gd name="T3" fmla="*/ 1107 h 1107"/>
                <a:gd name="T4" fmla="*/ 1121 w 2227"/>
                <a:gd name="T5" fmla="*/ 0 h 1107"/>
                <a:gd name="T6" fmla="*/ 0 w 2227"/>
                <a:gd name="T7" fmla="*/ 1107 h 1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27" h="1107">
                  <a:moveTo>
                    <a:pt x="0" y="1107"/>
                  </a:moveTo>
                  <a:lnTo>
                    <a:pt x="2227" y="1107"/>
                  </a:lnTo>
                  <a:lnTo>
                    <a:pt x="1121" y="0"/>
                  </a:lnTo>
                  <a:lnTo>
                    <a:pt x="0" y="1107"/>
                  </a:lnTo>
                  <a:close/>
                </a:path>
              </a:pathLst>
            </a:custGeom>
            <a:gradFill flip="none" rotWithShape="1">
              <a:gsLst>
                <a:gs pos="43000">
                  <a:srgbClr val="09192F">
                    <a:alpha val="73000"/>
                  </a:srgbClr>
                </a:gs>
                <a:gs pos="100000">
                  <a:srgbClr val="125680"/>
                </a:gs>
                <a:gs pos="0">
                  <a:srgbClr val="070C1E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8"/>
            <p:cNvSpPr>
              <a:spLocks/>
            </p:cNvSpPr>
            <p:nvPr/>
          </p:nvSpPr>
          <p:spPr bwMode="auto">
            <a:xfrm>
              <a:off x="2346882" y="5061164"/>
              <a:ext cx="1173064" cy="582496"/>
            </a:xfrm>
            <a:custGeom>
              <a:avLst/>
              <a:gdLst>
                <a:gd name="T0" fmla="*/ 0 w 872"/>
                <a:gd name="T1" fmla="*/ 433 h 433"/>
                <a:gd name="T2" fmla="*/ 872 w 872"/>
                <a:gd name="T3" fmla="*/ 433 h 433"/>
                <a:gd name="T4" fmla="*/ 440 w 872"/>
                <a:gd name="T5" fmla="*/ 0 h 433"/>
                <a:gd name="T6" fmla="*/ 0 w 872"/>
                <a:gd name="T7" fmla="*/ 433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72" h="433">
                  <a:moveTo>
                    <a:pt x="0" y="433"/>
                  </a:moveTo>
                  <a:lnTo>
                    <a:pt x="872" y="433"/>
                  </a:lnTo>
                  <a:lnTo>
                    <a:pt x="440" y="0"/>
                  </a:lnTo>
                  <a:lnTo>
                    <a:pt x="0" y="433"/>
                  </a:lnTo>
                  <a:close/>
                </a:path>
              </a:pathLst>
            </a:custGeom>
            <a:gradFill flip="none" rotWithShape="1">
              <a:gsLst>
                <a:gs pos="43000">
                  <a:srgbClr val="09192F">
                    <a:alpha val="73000"/>
                  </a:srgbClr>
                </a:gs>
                <a:gs pos="100000">
                  <a:srgbClr val="125680"/>
                </a:gs>
                <a:gs pos="0">
                  <a:srgbClr val="070C1E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auto">
            <a:xfrm>
              <a:off x="2194531" y="5389407"/>
              <a:ext cx="511197" cy="254253"/>
            </a:xfrm>
            <a:custGeom>
              <a:avLst/>
              <a:gdLst>
                <a:gd name="T0" fmla="*/ 0 w 380"/>
                <a:gd name="T1" fmla="*/ 189 h 189"/>
                <a:gd name="T2" fmla="*/ 380 w 380"/>
                <a:gd name="T3" fmla="*/ 189 h 189"/>
                <a:gd name="T4" fmla="*/ 191 w 380"/>
                <a:gd name="T5" fmla="*/ 0 h 189"/>
                <a:gd name="T6" fmla="*/ 0 w 380"/>
                <a:gd name="T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0" h="189">
                  <a:moveTo>
                    <a:pt x="0" y="189"/>
                  </a:moveTo>
                  <a:lnTo>
                    <a:pt x="380" y="189"/>
                  </a:lnTo>
                  <a:lnTo>
                    <a:pt x="191" y="0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0C15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8"/>
            <p:cNvSpPr>
              <a:spLocks/>
            </p:cNvSpPr>
            <p:nvPr/>
          </p:nvSpPr>
          <p:spPr bwMode="auto">
            <a:xfrm>
              <a:off x="3243493" y="5240024"/>
              <a:ext cx="814788" cy="403636"/>
            </a:xfrm>
            <a:custGeom>
              <a:avLst/>
              <a:gdLst>
                <a:gd name="T0" fmla="*/ 0 w 759"/>
                <a:gd name="T1" fmla="*/ 376 h 376"/>
                <a:gd name="T2" fmla="*/ 759 w 759"/>
                <a:gd name="T3" fmla="*/ 376 h 376"/>
                <a:gd name="T4" fmla="*/ 381 w 759"/>
                <a:gd name="T5" fmla="*/ 0 h 376"/>
                <a:gd name="T6" fmla="*/ 0 w 759"/>
                <a:gd name="T7" fmla="*/ 376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59" h="376">
                  <a:moveTo>
                    <a:pt x="0" y="376"/>
                  </a:moveTo>
                  <a:lnTo>
                    <a:pt x="759" y="376"/>
                  </a:lnTo>
                  <a:lnTo>
                    <a:pt x="381" y="0"/>
                  </a:lnTo>
                  <a:lnTo>
                    <a:pt x="0" y="376"/>
                  </a:lnTo>
                  <a:close/>
                </a:path>
              </a:pathLst>
            </a:custGeom>
            <a:solidFill>
              <a:srgbClr val="0C15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49"/>
            <p:cNvSpPr>
              <a:spLocks/>
            </p:cNvSpPr>
            <p:nvPr/>
          </p:nvSpPr>
          <p:spPr bwMode="auto">
            <a:xfrm>
              <a:off x="-1530125" y="5643661"/>
              <a:ext cx="1672437" cy="832160"/>
            </a:xfrm>
            <a:custGeom>
              <a:avLst/>
              <a:gdLst>
                <a:gd name="T0" fmla="*/ 0 w 1236"/>
                <a:gd name="T1" fmla="*/ 0 h 615"/>
                <a:gd name="T2" fmla="*/ 1236 w 1236"/>
                <a:gd name="T3" fmla="*/ 0 h 615"/>
                <a:gd name="T4" fmla="*/ 621 w 1236"/>
                <a:gd name="T5" fmla="*/ 615 h 615"/>
                <a:gd name="T6" fmla="*/ 0 w 1236"/>
                <a:gd name="T7" fmla="*/ 0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36" h="615">
                  <a:moveTo>
                    <a:pt x="0" y="0"/>
                  </a:moveTo>
                  <a:lnTo>
                    <a:pt x="1236" y="0"/>
                  </a:lnTo>
                  <a:lnTo>
                    <a:pt x="621" y="615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B0F7F4">
                    <a:alpha val="10000"/>
                  </a:srgbClr>
                </a:gs>
                <a:gs pos="21000">
                  <a:srgbClr val="B0F7F4">
                    <a:alpha val="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50"/>
            <p:cNvSpPr>
              <a:spLocks/>
            </p:cNvSpPr>
            <p:nvPr/>
          </p:nvSpPr>
          <p:spPr bwMode="auto">
            <a:xfrm>
              <a:off x="-3233814" y="5643660"/>
              <a:ext cx="2565404" cy="1275303"/>
            </a:xfrm>
            <a:custGeom>
              <a:avLst/>
              <a:gdLst>
                <a:gd name="T0" fmla="*/ 0 w 1907"/>
                <a:gd name="T1" fmla="*/ 0 h 948"/>
                <a:gd name="T2" fmla="*/ 1907 w 1907"/>
                <a:gd name="T3" fmla="*/ 0 h 948"/>
                <a:gd name="T4" fmla="*/ 962 w 1907"/>
                <a:gd name="T5" fmla="*/ 948 h 948"/>
                <a:gd name="T6" fmla="*/ 0 w 1907"/>
                <a:gd name="T7" fmla="*/ 0 h 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07" h="948">
                  <a:moveTo>
                    <a:pt x="0" y="0"/>
                  </a:moveTo>
                  <a:lnTo>
                    <a:pt x="1907" y="0"/>
                  </a:lnTo>
                  <a:lnTo>
                    <a:pt x="962" y="948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B0F7F4">
                    <a:alpha val="20000"/>
                  </a:srgbClr>
                </a:gs>
                <a:gs pos="22000">
                  <a:srgbClr val="B0F7F4">
                    <a:alpha val="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51"/>
            <p:cNvSpPr>
              <a:spLocks/>
            </p:cNvSpPr>
            <p:nvPr/>
          </p:nvSpPr>
          <p:spPr bwMode="auto">
            <a:xfrm>
              <a:off x="2360669" y="5643660"/>
              <a:ext cx="1004907" cy="499090"/>
            </a:xfrm>
            <a:custGeom>
              <a:avLst/>
              <a:gdLst>
                <a:gd name="T0" fmla="*/ 0 w 747"/>
                <a:gd name="T1" fmla="*/ 0 h 371"/>
                <a:gd name="T2" fmla="*/ 747 w 747"/>
                <a:gd name="T3" fmla="*/ 0 h 371"/>
                <a:gd name="T4" fmla="*/ 376 w 747"/>
                <a:gd name="T5" fmla="*/ 371 h 371"/>
                <a:gd name="T6" fmla="*/ 0 w 747"/>
                <a:gd name="T7" fmla="*/ 0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47" h="371">
                  <a:moveTo>
                    <a:pt x="0" y="0"/>
                  </a:moveTo>
                  <a:lnTo>
                    <a:pt x="747" y="0"/>
                  </a:lnTo>
                  <a:lnTo>
                    <a:pt x="376" y="371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B0F7F4">
                    <a:alpha val="20000"/>
                  </a:srgbClr>
                </a:gs>
                <a:gs pos="22000">
                  <a:srgbClr val="B0F7F4">
                    <a:alpha val="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56"/>
            <p:cNvSpPr>
              <a:spLocks/>
            </p:cNvSpPr>
            <p:nvPr/>
          </p:nvSpPr>
          <p:spPr bwMode="auto">
            <a:xfrm>
              <a:off x="3346538" y="5643661"/>
              <a:ext cx="588915" cy="292570"/>
            </a:xfrm>
            <a:custGeom>
              <a:avLst/>
              <a:gdLst>
                <a:gd name="T0" fmla="*/ 0 w 624"/>
                <a:gd name="T1" fmla="*/ 0 h 310"/>
                <a:gd name="T2" fmla="*/ 624 w 624"/>
                <a:gd name="T3" fmla="*/ 0 h 310"/>
                <a:gd name="T4" fmla="*/ 315 w 624"/>
                <a:gd name="T5" fmla="*/ 310 h 310"/>
                <a:gd name="T6" fmla="*/ 0 w 624"/>
                <a:gd name="T7" fmla="*/ 0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4" h="310">
                  <a:moveTo>
                    <a:pt x="0" y="0"/>
                  </a:moveTo>
                  <a:lnTo>
                    <a:pt x="624" y="0"/>
                  </a:lnTo>
                  <a:lnTo>
                    <a:pt x="315" y="31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B0F7F4">
                    <a:alpha val="20000"/>
                  </a:srgbClr>
                </a:gs>
                <a:gs pos="22000">
                  <a:srgbClr val="B0F7F4">
                    <a:alpha val="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5"/>
            <p:cNvSpPr>
              <a:spLocks/>
            </p:cNvSpPr>
            <p:nvPr/>
          </p:nvSpPr>
          <p:spPr bwMode="auto">
            <a:xfrm>
              <a:off x="2006195" y="5478193"/>
              <a:ext cx="333624" cy="165467"/>
            </a:xfrm>
            <a:custGeom>
              <a:avLst/>
              <a:gdLst>
                <a:gd name="T0" fmla="*/ 0 w 248"/>
                <a:gd name="T1" fmla="*/ 123 h 123"/>
                <a:gd name="T2" fmla="*/ 248 w 248"/>
                <a:gd name="T3" fmla="*/ 123 h 123"/>
                <a:gd name="T4" fmla="*/ 125 w 248"/>
                <a:gd name="T5" fmla="*/ 0 h 123"/>
                <a:gd name="T6" fmla="*/ 0 w 248"/>
                <a:gd name="T7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8" h="123">
                  <a:moveTo>
                    <a:pt x="0" y="123"/>
                  </a:moveTo>
                  <a:lnTo>
                    <a:pt x="248" y="123"/>
                  </a:lnTo>
                  <a:lnTo>
                    <a:pt x="125" y="0"/>
                  </a:lnTo>
                  <a:lnTo>
                    <a:pt x="0" y="123"/>
                  </a:lnTo>
                  <a:close/>
                </a:path>
              </a:pathLst>
            </a:custGeom>
            <a:solidFill>
              <a:srgbClr val="0C15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0" name="TextBox 49"/>
          <p:cNvSpPr txBox="1"/>
          <p:nvPr/>
        </p:nvSpPr>
        <p:spPr>
          <a:xfrm>
            <a:off x="4928948" y="589490"/>
            <a:ext cx="4055597" cy="61555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40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Sample UI design</a:t>
            </a:r>
            <a:endParaRPr lang="en-US" sz="40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grpSp>
        <p:nvGrpSpPr>
          <p:cNvPr id="91" name="Group 4"/>
          <p:cNvGrpSpPr>
            <a:grpSpLocks noChangeAspect="1"/>
          </p:cNvGrpSpPr>
          <p:nvPr/>
        </p:nvGrpSpPr>
        <p:grpSpPr bwMode="auto">
          <a:xfrm flipH="1">
            <a:off x="213511" y="200694"/>
            <a:ext cx="2921862" cy="5521180"/>
            <a:chOff x="3532" y="1579"/>
            <a:chExt cx="616" cy="1164"/>
          </a:xfrm>
        </p:grpSpPr>
        <p:sp>
          <p:nvSpPr>
            <p:cNvPr id="93" name="Freeform 5"/>
            <p:cNvSpPr>
              <a:spLocks/>
            </p:cNvSpPr>
            <p:nvPr/>
          </p:nvSpPr>
          <p:spPr bwMode="auto">
            <a:xfrm>
              <a:off x="3532" y="1579"/>
              <a:ext cx="616" cy="1164"/>
            </a:xfrm>
            <a:custGeom>
              <a:avLst/>
              <a:gdLst>
                <a:gd name="T0" fmla="*/ 238 w 258"/>
                <a:gd name="T1" fmla="*/ 490 h 490"/>
                <a:gd name="T2" fmla="*/ 20 w 258"/>
                <a:gd name="T3" fmla="*/ 490 h 490"/>
                <a:gd name="T4" fmla="*/ 0 w 258"/>
                <a:gd name="T5" fmla="*/ 470 h 490"/>
                <a:gd name="T6" fmla="*/ 0 w 258"/>
                <a:gd name="T7" fmla="*/ 20 h 490"/>
                <a:gd name="T8" fmla="*/ 20 w 258"/>
                <a:gd name="T9" fmla="*/ 0 h 490"/>
                <a:gd name="T10" fmla="*/ 238 w 258"/>
                <a:gd name="T11" fmla="*/ 0 h 490"/>
                <a:gd name="T12" fmla="*/ 258 w 258"/>
                <a:gd name="T13" fmla="*/ 20 h 490"/>
                <a:gd name="T14" fmla="*/ 258 w 258"/>
                <a:gd name="T15" fmla="*/ 470 h 490"/>
                <a:gd name="T16" fmla="*/ 238 w 258"/>
                <a:gd name="T17" fmla="*/ 49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490">
                  <a:moveTo>
                    <a:pt x="238" y="490"/>
                  </a:moveTo>
                  <a:cubicBezTo>
                    <a:pt x="20" y="490"/>
                    <a:pt x="20" y="490"/>
                    <a:pt x="20" y="490"/>
                  </a:cubicBezTo>
                  <a:cubicBezTo>
                    <a:pt x="9" y="490"/>
                    <a:pt x="0" y="481"/>
                    <a:pt x="0" y="47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238" y="0"/>
                    <a:pt x="238" y="0"/>
                    <a:pt x="238" y="0"/>
                  </a:cubicBezTo>
                  <a:cubicBezTo>
                    <a:pt x="249" y="0"/>
                    <a:pt x="258" y="9"/>
                    <a:pt x="258" y="20"/>
                  </a:cubicBezTo>
                  <a:cubicBezTo>
                    <a:pt x="258" y="470"/>
                    <a:pt x="258" y="470"/>
                    <a:pt x="258" y="470"/>
                  </a:cubicBezTo>
                  <a:cubicBezTo>
                    <a:pt x="258" y="481"/>
                    <a:pt x="249" y="490"/>
                    <a:pt x="238" y="490"/>
                  </a:cubicBezTo>
                  <a:close/>
                </a:path>
              </a:pathLst>
            </a:custGeom>
            <a:gradFill>
              <a:gsLst>
                <a:gs pos="100000">
                  <a:srgbClr val="B0F7F4"/>
                </a:gs>
                <a:gs pos="0">
                  <a:srgbClr val="B0F7F4"/>
                </a:gs>
                <a:gs pos="5900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Rectangle 6"/>
            <p:cNvSpPr>
              <a:spLocks noChangeArrowheads="1"/>
            </p:cNvSpPr>
            <p:nvPr/>
          </p:nvSpPr>
          <p:spPr bwMode="auto">
            <a:xfrm>
              <a:off x="3561" y="1672"/>
              <a:ext cx="556" cy="945"/>
            </a:xfrm>
            <a:prstGeom prst="rect">
              <a:avLst/>
            </a:prstGeom>
            <a:gradFill flip="none" rotWithShape="1">
              <a:gsLst>
                <a:gs pos="23000">
                  <a:srgbClr val="09192F"/>
                </a:gs>
                <a:gs pos="100000">
                  <a:srgbClr val="125680"/>
                </a:gs>
                <a:gs pos="0">
                  <a:srgbClr val="070C1E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Oval 7"/>
            <p:cNvSpPr>
              <a:spLocks noChangeArrowheads="1"/>
            </p:cNvSpPr>
            <p:nvPr/>
          </p:nvSpPr>
          <p:spPr bwMode="auto">
            <a:xfrm>
              <a:off x="3810" y="2652"/>
              <a:ext cx="61" cy="61"/>
            </a:xfrm>
            <a:prstGeom prst="ellipse">
              <a:avLst/>
            </a:prstGeom>
            <a:gradFill flip="none" rotWithShape="1">
              <a:gsLst>
                <a:gs pos="36000">
                  <a:srgbClr val="09192F"/>
                </a:gs>
                <a:gs pos="100000">
                  <a:srgbClr val="125680"/>
                </a:gs>
                <a:gs pos="0">
                  <a:srgbClr val="070C1E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8"/>
            <p:cNvSpPr>
              <a:spLocks/>
            </p:cNvSpPr>
            <p:nvPr/>
          </p:nvSpPr>
          <p:spPr bwMode="auto">
            <a:xfrm>
              <a:off x="3771" y="1624"/>
              <a:ext cx="138" cy="12"/>
            </a:xfrm>
            <a:custGeom>
              <a:avLst/>
              <a:gdLst>
                <a:gd name="T0" fmla="*/ 56 w 58"/>
                <a:gd name="T1" fmla="*/ 5 h 5"/>
                <a:gd name="T2" fmla="*/ 2 w 58"/>
                <a:gd name="T3" fmla="*/ 5 h 5"/>
                <a:gd name="T4" fmla="*/ 0 w 58"/>
                <a:gd name="T5" fmla="*/ 2 h 5"/>
                <a:gd name="T6" fmla="*/ 0 w 58"/>
                <a:gd name="T7" fmla="*/ 2 h 5"/>
                <a:gd name="T8" fmla="*/ 2 w 58"/>
                <a:gd name="T9" fmla="*/ 0 h 5"/>
                <a:gd name="T10" fmla="*/ 56 w 58"/>
                <a:gd name="T11" fmla="*/ 0 h 5"/>
                <a:gd name="T12" fmla="*/ 58 w 58"/>
                <a:gd name="T13" fmla="*/ 2 h 5"/>
                <a:gd name="T14" fmla="*/ 58 w 58"/>
                <a:gd name="T15" fmla="*/ 2 h 5"/>
                <a:gd name="T16" fmla="*/ 56 w 58"/>
                <a:gd name="T1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" h="5">
                  <a:moveTo>
                    <a:pt x="56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7" y="0"/>
                    <a:pt x="58" y="1"/>
                    <a:pt x="58" y="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8" y="4"/>
                    <a:pt x="57" y="5"/>
                    <a:pt x="56" y="5"/>
                  </a:cubicBezTo>
                  <a:close/>
                </a:path>
              </a:pathLst>
            </a:custGeom>
            <a:gradFill flip="none" rotWithShape="1">
              <a:gsLst>
                <a:gs pos="36000">
                  <a:srgbClr val="09192F"/>
                </a:gs>
                <a:gs pos="100000">
                  <a:srgbClr val="125680"/>
                </a:gs>
                <a:gs pos="0">
                  <a:srgbClr val="070C1E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00" name="Freeform 12"/>
          <p:cNvSpPr>
            <a:spLocks/>
          </p:cNvSpPr>
          <p:nvPr/>
        </p:nvSpPr>
        <p:spPr bwMode="auto">
          <a:xfrm>
            <a:off x="213512" y="5732035"/>
            <a:ext cx="2921862" cy="1009901"/>
          </a:xfrm>
          <a:custGeom>
            <a:avLst/>
            <a:gdLst>
              <a:gd name="T0" fmla="*/ 258 w 258"/>
              <a:gd name="T1" fmla="*/ 84 h 84"/>
              <a:gd name="T2" fmla="*/ 0 w 258"/>
              <a:gd name="T3" fmla="*/ 84 h 84"/>
              <a:gd name="T4" fmla="*/ 0 w 258"/>
              <a:gd name="T5" fmla="*/ 21 h 84"/>
              <a:gd name="T6" fmla="*/ 20 w 258"/>
              <a:gd name="T7" fmla="*/ 0 h 84"/>
              <a:gd name="T8" fmla="*/ 237 w 258"/>
              <a:gd name="T9" fmla="*/ 0 h 84"/>
              <a:gd name="T10" fmla="*/ 258 w 258"/>
              <a:gd name="T11" fmla="*/ 21 h 84"/>
              <a:gd name="T12" fmla="*/ 258 w 258"/>
              <a:gd name="T13" fmla="*/ 84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58" h="84">
                <a:moveTo>
                  <a:pt x="258" y="84"/>
                </a:moveTo>
                <a:cubicBezTo>
                  <a:pt x="0" y="84"/>
                  <a:pt x="0" y="84"/>
                  <a:pt x="0" y="84"/>
                </a:cubicBezTo>
                <a:cubicBezTo>
                  <a:pt x="0" y="21"/>
                  <a:pt x="0" y="21"/>
                  <a:pt x="0" y="21"/>
                </a:cubicBezTo>
                <a:cubicBezTo>
                  <a:pt x="0" y="9"/>
                  <a:pt x="9" y="0"/>
                  <a:pt x="20" y="0"/>
                </a:cubicBezTo>
                <a:cubicBezTo>
                  <a:pt x="237" y="0"/>
                  <a:pt x="237" y="0"/>
                  <a:pt x="237" y="0"/>
                </a:cubicBezTo>
                <a:cubicBezTo>
                  <a:pt x="249" y="0"/>
                  <a:pt x="258" y="9"/>
                  <a:pt x="258" y="21"/>
                </a:cubicBezTo>
                <a:lnTo>
                  <a:pt x="258" y="84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11" name="Group 110"/>
          <p:cNvGrpSpPr/>
          <p:nvPr/>
        </p:nvGrpSpPr>
        <p:grpSpPr>
          <a:xfrm>
            <a:off x="5034608" y="2995101"/>
            <a:ext cx="769339" cy="769339"/>
            <a:chOff x="1119850" y="3102137"/>
            <a:chExt cx="798223" cy="798223"/>
          </a:xfrm>
        </p:grpSpPr>
        <p:sp>
          <p:nvSpPr>
            <p:cNvPr id="112" name="Rectangle 111"/>
            <p:cNvSpPr/>
            <p:nvPr/>
          </p:nvSpPr>
          <p:spPr>
            <a:xfrm rot="2700000">
              <a:off x="1119850" y="3102137"/>
              <a:ext cx="798223" cy="798223"/>
            </a:xfrm>
            <a:prstGeom prst="rect">
              <a:avLst/>
            </a:prstGeom>
            <a:gradFill>
              <a:gsLst>
                <a:gs pos="100000">
                  <a:srgbClr val="B0F7F4"/>
                </a:gs>
                <a:gs pos="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13" name="Rectangle 112"/>
            <p:cNvSpPr/>
            <p:nvPr/>
          </p:nvSpPr>
          <p:spPr>
            <a:xfrm rot="2700000">
              <a:off x="1211935" y="3194225"/>
              <a:ext cx="614052" cy="614052"/>
            </a:xfrm>
            <a:prstGeom prst="rect">
              <a:avLst/>
            </a:prstGeom>
            <a:gradFill flip="none" rotWithShape="1">
              <a:gsLst>
                <a:gs pos="100000">
                  <a:srgbClr val="B0F7F4"/>
                </a:gs>
                <a:gs pos="0">
                  <a:schemeClr val="bg1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14" name="Group 113"/>
          <p:cNvGrpSpPr/>
          <p:nvPr/>
        </p:nvGrpSpPr>
        <p:grpSpPr>
          <a:xfrm>
            <a:off x="5034608" y="4310852"/>
            <a:ext cx="769339" cy="769339"/>
            <a:chOff x="1119850" y="3102137"/>
            <a:chExt cx="798223" cy="798223"/>
          </a:xfrm>
        </p:grpSpPr>
        <p:sp>
          <p:nvSpPr>
            <p:cNvPr id="115" name="Rectangle 114"/>
            <p:cNvSpPr/>
            <p:nvPr/>
          </p:nvSpPr>
          <p:spPr>
            <a:xfrm rot="2700000">
              <a:off x="1119850" y="3102137"/>
              <a:ext cx="798223" cy="798223"/>
            </a:xfrm>
            <a:prstGeom prst="rect">
              <a:avLst/>
            </a:prstGeom>
            <a:gradFill>
              <a:gsLst>
                <a:gs pos="100000">
                  <a:srgbClr val="B0F7F4"/>
                </a:gs>
                <a:gs pos="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16" name="Rectangle 115"/>
            <p:cNvSpPr/>
            <p:nvPr/>
          </p:nvSpPr>
          <p:spPr>
            <a:xfrm rot="2700000">
              <a:off x="1211935" y="3194225"/>
              <a:ext cx="614052" cy="614052"/>
            </a:xfrm>
            <a:prstGeom prst="rect">
              <a:avLst/>
            </a:prstGeom>
            <a:gradFill flip="none" rotWithShape="1">
              <a:gsLst>
                <a:gs pos="100000">
                  <a:srgbClr val="B0F7F4"/>
                </a:gs>
                <a:gs pos="0">
                  <a:schemeClr val="bg1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34" name="Group 133"/>
          <p:cNvGrpSpPr/>
          <p:nvPr/>
        </p:nvGrpSpPr>
        <p:grpSpPr>
          <a:xfrm>
            <a:off x="5263416" y="3236100"/>
            <a:ext cx="311722" cy="287340"/>
            <a:chOff x="4313201" y="1920875"/>
            <a:chExt cx="284163" cy="261938"/>
          </a:xfrm>
          <a:solidFill>
            <a:srgbClr val="125680"/>
          </a:solidFill>
        </p:grpSpPr>
        <p:sp>
          <p:nvSpPr>
            <p:cNvPr id="135" name="Freeform 3131"/>
            <p:cNvSpPr>
              <a:spLocks/>
            </p:cNvSpPr>
            <p:nvPr/>
          </p:nvSpPr>
          <p:spPr bwMode="auto">
            <a:xfrm>
              <a:off x="4313201" y="1920875"/>
              <a:ext cx="236538" cy="200025"/>
            </a:xfrm>
            <a:custGeom>
              <a:avLst/>
              <a:gdLst>
                <a:gd name="T0" fmla="*/ 599 w 599"/>
                <a:gd name="T1" fmla="*/ 12 h 503"/>
                <a:gd name="T2" fmla="*/ 599 w 599"/>
                <a:gd name="T3" fmla="*/ 7 h 503"/>
                <a:gd name="T4" fmla="*/ 595 w 599"/>
                <a:gd name="T5" fmla="*/ 3 h 503"/>
                <a:gd name="T6" fmla="*/ 592 w 599"/>
                <a:gd name="T7" fmla="*/ 1 h 503"/>
                <a:gd name="T8" fmla="*/ 587 w 599"/>
                <a:gd name="T9" fmla="*/ 0 h 503"/>
                <a:gd name="T10" fmla="*/ 12 w 599"/>
                <a:gd name="T11" fmla="*/ 0 h 503"/>
                <a:gd name="T12" fmla="*/ 8 w 599"/>
                <a:gd name="T13" fmla="*/ 1 h 503"/>
                <a:gd name="T14" fmla="*/ 4 w 599"/>
                <a:gd name="T15" fmla="*/ 3 h 503"/>
                <a:gd name="T16" fmla="*/ 2 w 599"/>
                <a:gd name="T17" fmla="*/ 7 h 503"/>
                <a:gd name="T18" fmla="*/ 0 w 599"/>
                <a:gd name="T19" fmla="*/ 12 h 503"/>
                <a:gd name="T20" fmla="*/ 0 w 599"/>
                <a:gd name="T21" fmla="*/ 371 h 503"/>
                <a:gd name="T22" fmla="*/ 2 w 599"/>
                <a:gd name="T23" fmla="*/ 376 h 503"/>
                <a:gd name="T24" fmla="*/ 4 w 599"/>
                <a:gd name="T25" fmla="*/ 379 h 503"/>
                <a:gd name="T26" fmla="*/ 8 w 599"/>
                <a:gd name="T27" fmla="*/ 382 h 503"/>
                <a:gd name="T28" fmla="*/ 12 w 599"/>
                <a:gd name="T29" fmla="*/ 383 h 503"/>
                <a:gd name="T30" fmla="*/ 96 w 599"/>
                <a:gd name="T31" fmla="*/ 383 h 503"/>
                <a:gd name="T32" fmla="*/ 96 w 599"/>
                <a:gd name="T33" fmla="*/ 490 h 503"/>
                <a:gd name="T34" fmla="*/ 97 w 599"/>
                <a:gd name="T35" fmla="*/ 493 h 503"/>
                <a:gd name="T36" fmla="*/ 98 w 599"/>
                <a:gd name="T37" fmla="*/ 497 h 503"/>
                <a:gd name="T38" fmla="*/ 100 w 599"/>
                <a:gd name="T39" fmla="*/ 499 h 503"/>
                <a:gd name="T40" fmla="*/ 104 w 599"/>
                <a:gd name="T41" fmla="*/ 502 h 503"/>
                <a:gd name="T42" fmla="*/ 106 w 599"/>
                <a:gd name="T43" fmla="*/ 502 h 503"/>
                <a:gd name="T44" fmla="*/ 109 w 599"/>
                <a:gd name="T45" fmla="*/ 503 h 503"/>
                <a:gd name="T46" fmla="*/ 112 w 599"/>
                <a:gd name="T47" fmla="*/ 502 h 503"/>
                <a:gd name="T48" fmla="*/ 117 w 599"/>
                <a:gd name="T49" fmla="*/ 499 h 503"/>
                <a:gd name="T50" fmla="*/ 232 w 599"/>
                <a:gd name="T51" fmla="*/ 383 h 503"/>
                <a:gd name="T52" fmla="*/ 288 w 599"/>
                <a:gd name="T53" fmla="*/ 383 h 503"/>
                <a:gd name="T54" fmla="*/ 288 w 599"/>
                <a:gd name="T55" fmla="*/ 251 h 503"/>
                <a:gd name="T56" fmla="*/ 288 w 599"/>
                <a:gd name="T57" fmla="*/ 246 h 503"/>
                <a:gd name="T58" fmla="*/ 291 w 599"/>
                <a:gd name="T59" fmla="*/ 242 h 503"/>
                <a:gd name="T60" fmla="*/ 295 w 599"/>
                <a:gd name="T61" fmla="*/ 240 h 503"/>
                <a:gd name="T62" fmla="*/ 300 w 599"/>
                <a:gd name="T63" fmla="*/ 239 h 503"/>
                <a:gd name="T64" fmla="*/ 599 w 599"/>
                <a:gd name="T65" fmla="*/ 239 h 503"/>
                <a:gd name="T66" fmla="*/ 599 w 599"/>
                <a:gd name="T67" fmla="*/ 1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99" h="503">
                  <a:moveTo>
                    <a:pt x="599" y="12"/>
                  </a:moveTo>
                  <a:lnTo>
                    <a:pt x="599" y="7"/>
                  </a:lnTo>
                  <a:lnTo>
                    <a:pt x="595" y="3"/>
                  </a:lnTo>
                  <a:lnTo>
                    <a:pt x="592" y="1"/>
                  </a:lnTo>
                  <a:lnTo>
                    <a:pt x="587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2" y="7"/>
                  </a:lnTo>
                  <a:lnTo>
                    <a:pt x="0" y="12"/>
                  </a:lnTo>
                  <a:lnTo>
                    <a:pt x="0" y="371"/>
                  </a:lnTo>
                  <a:lnTo>
                    <a:pt x="2" y="376"/>
                  </a:lnTo>
                  <a:lnTo>
                    <a:pt x="4" y="379"/>
                  </a:lnTo>
                  <a:lnTo>
                    <a:pt x="8" y="382"/>
                  </a:lnTo>
                  <a:lnTo>
                    <a:pt x="12" y="383"/>
                  </a:lnTo>
                  <a:lnTo>
                    <a:pt x="96" y="383"/>
                  </a:lnTo>
                  <a:lnTo>
                    <a:pt x="96" y="490"/>
                  </a:lnTo>
                  <a:lnTo>
                    <a:pt x="97" y="493"/>
                  </a:lnTo>
                  <a:lnTo>
                    <a:pt x="98" y="497"/>
                  </a:lnTo>
                  <a:lnTo>
                    <a:pt x="100" y="499"/>
                  </a:lnTo>
                  <a:lnTo>
                    <a:pt x="104" y="502"/>
                  </a:lnTo>
                  <a:lnTo>
                    <a:pt x="106" y="502"/>
                  </a:lnTo>
                  <a:lnTo>
                    <a:pt x="109" y="503"/>
                  </a:lnTo>
                  <a:lnTo>
                    <a:pt x="112" y="502"/>
                  </a:lnTo>
                  <a:lnTo>
                    <a:pt x="117" y="499"/>
                  </a:lnTo>
                  <a:lnTo>
                    <a:pt x="232" y="383"/>
                  </a:lnTo>
                  <a:lnTo>
                    <a:pt x="288" y="383"/>
                  </a:lnTo>
                  <a:lnTo>
                    <a:pt x="288" y="251"/>
                  </a:lnTo>
                  <a:lnTo>
                    <a:pt x="288" y="246"/>
                  </a:lnTo>
                  <a:lnTo>
                    <a:pt x="291" y="242"/>
                  </a:lnTo>
                  <a:lnTo>
                    <a:pt x="295" y="240"/>
                  </a:lnTo>
                  <a:lnTo>
                    <a:pt x="300" y="239"/>
                  </a:lnTo>
                  <a:lnTo>
                    <a:pt x="599" y="239"/>
                  </a:lnTo>
                  <a:lnTo>
                    <a:pt x="599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3132"/>
            <p:cNvSpPr>
              <a:spLocks/>
            </p:cNvSpPr>
            <p:nvPr/>
          </p:nvSpPr>
          <p:spPr bwMode="auto">
            <a:xfrm>
              <a:off x="4437026" y="2025650"/>
              <a:ext cx="160338" cy="157163"/>
            </a:xfrm>
            <a:custGeom>
              <a:avLst/>
              <a:gdLst>
                <a:gd name="T0" fmla="*/ 395 w 407"/>
                <a:gd name="T1" fmla="*/ 0 h 394"/>
                <a:gd name="T2" fmla="*/ 12 w 407"/>
                <a:gd name="T3" fmla="*/ 0 h 394"/>
                <a:gd name="T4" fmla="*/ 0 w 407"/>
                <a:gd name="T5" fmla="*/ 0 h 394"/>
                <a:gd name="T6" fmla="*/ 0 w 407"/>
                <a:gd name="T7" fmla="*/ 11 h 394"/>
                <a:gd name="T8" fmla="*/ 0 w 407"/>
                <a:gd name="T9" fmla="*/ 252 h 394"/>
                <a:gd name="T10" fmla="*/ 0 w 407"/>
                <a:gd name="T11" fmla="*/ 255 h 394"/>
                <a:gd name="T12" fmla="*/ 4 w 407"/>
                <a:gd name="T13" fmla="*/ 260 h 394"/>
                <a:gd name="T14" fmla="*/ 7 w 407"/>
                <a:gd name="T15" fmla="*/ 262 h 394"/>
                <a:gd name="T16" fmla="*/ 12 w 407"/>
                <a:gd name="T17" fmla="*/ 264 h 394"/>
                <a:gd name="T18" fmla="*/ 193 w 407"/>
                <a:gd name="T19" fmla="*/ 264 h 394"/>
                <a:gd name="T20" fmla="*/ 198 w 407"/>
                <a:gd name="T21" fmla="*/ 264 h 394"/>
                <a:gd name="T22" fmla="*/ 314 w 407"/>
                <a:gd name="T23" fmla="*/ 391 h 394"/>
                <a:gd name="T24" fmla="*/ 319 w 407"/>
                <a:gd name="T25" fmla="*/ 394 h 394"/>
                <a:gd name="T26" fmla="*/ 324 w 407"/>
                <a:gd name="T27" fmla="*/ 394 h 394"/>
                <a:gd name="T28" fmla="*/ 325 w 407"/>
                <a:gd name="T29" fmla="*/ 394 h 394"/>
                <a:gd name="T30" fmla="*/ 327 w 407"/>
                <a:gd name="T31" fmla="*/ 394 h 394"/>
                <a:gd name="T32" fmla="*/ 331 w 407"/>
                <a:gd name="T33" fmla="*/ 392 h 394"/>
                <a:gd name="T34" fmla="*/ 333 w 407"/>
                <a:gd name="T35" fmla="*/ 390 h 394"/>
                <a:gd name="T36" fmla="*/ 334 w 407"/>
                <a:gd name="T37" fmla="*/ 386 h 394"/>
                <a:gd name="T38" fmla="*/ 336 w 407"/>
                <a:gd name="T39" fmla="*/ 383 h 394"/>
                <a:gd name="T40" fmla="*/ 336 w 407"/>
                <a:gd name="T41" fmla="*/ 276 h 394"/>
                <a:gd name="T42" fmla="*/ 336 w 407"/>
                <a:gd name="T43" fmla="*/ 264 h 394"/>
                <a:gd name="T44" fmla="*/ 347 w 407"/>
                <a:gd name="T45" fmla="*/ 264 h 394"/>
                <a:gd name="T46" fmla="*/ 395 w 407"/>
                <a:gd name="T47" fmla="*/ 264 h 394"/>
                <a:gd name="T48" fmla="*/ 400 w 407"/>
                <a:gd name="T49" fmla="*/ 262 h 394"/>
                <a:gd name="T50" fmla="*/ 403 w 407"/>
                <a:gd name="T51" fmla="*/ 260 h 394"/>
                <a:gd name="T52" fmla="*/ 406 w 407"/>
                <a:gd name="T53" fmla="*/ 257 h 394"/>
                <a:gd name="T54" fmla="*/ 407 w 407"/>
                <a:gd name="T55" fmla="*/ 252 h 394"/>
                <a:gd name="T56" fmla="*/ 407 w 407"/>
                <a:gd name="T57" fmla="*/ 11 h 394"/>
                <a:gd name="T58" fmla="*/ 406 w 407"/>
                <a:gd name="T59" fmla="*/ 7 h 394"/>
                <a:gd name="T60" fmla="*/ 403 w 407"/>
                <a:gd name="T61" fmla="*/ 3 h 394"/>
                <a:gd name="T62" fmla="*/ 400 w 407"/>
                <a:gd name="T63" fmla="*/ 1 h 394"/>
                <a:gd name="T64" fmla="*/ 395 w 407"/>
                <a:gd name="T65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7" h="394">
                  <a:moveTo>
                    <a:pt x="395" y="0"/>
                  </a:moveTo>
                  <a:lnTo>
                    <a:pt x="12" y="0"/>
                  </a:lnTo>
                  <a:lnTo>
                    <a:pt x="0" y="0"/>
                  </a:lnTo>
                  <a:lnTo>
                    <a:pt x="0" y="11"/>
                  </a:lnTo>
                  <a:lnTo>
                    <a:pt x="0" y="252"/>
                  </a:lnTo>
                  <a:lnTo>
                    <a:pt x="0" y="255"/>
                  </a:lnTo>
                  <a:lnTo>
                    <a:pt x="4" y="260"/>
                  </a:lnTo>
                  <a:lnTo>
                    <a:pt x="7" y="262"/>
                  </a:lnTo>
                  <a:lnTo>
                    <a:pt x="12" y="264"/>
                  </a:lnTo>
                  <a:lnTo>
                    <a:pt x="193" y="264"/>
                  </a:lnTo>
                  <a:lnTo>
                    <a:pt x="198" y="264"/>
                  </a:lnTo>
                  <a:lnTo>
                    <a:pt x="314" y="391"/>
                  </a:lnTo>
                  <a:lnTo>
                    <a:pt x="319" y="394"/>
                  </a:lnTo>
                  <a:lnTo>
                    <a:pt x="324" y="394"/>
                  </a:lnTo>
                  <a:lnTo>
                    <a:pt x="325" y="394"/>
                  </a:lnTo>
                  <a:lnTo>
                    <a:pt x="327" y="394"/>
                  </a:lnTo>
                  <a:lnTo>
                    <a:pt x="331" y="392"/>
                  </a:lnTo>
                  <a:lnTo>
                    <a:pt x="333" y="390"/>
                  </a:lnTo>
                  <a:lnTo>
                    <a:pt x="334" y="386"/>
                  </a:lnTo>
                  <a:lnTo>
                    <a:pt x="336" y="383"/>
                  </a:lnTo>
                  <a:lnTo>
                    <a:pt x="336" y="276"/>
                  </a:lnTo>
                  <a:lnTo>
                    <a:pt x="336" y="264"/>
                  </a:lnTo>
                  <a:lnTo>
                    <a:pt x="347" y="264"/>
                  </a:lnTo>
                  <a:lnTo>
                    <a:pt x="395" y="264"/>
                  </a:lnTo>
                  <a:lnTo>
                    <a:pt x="400" y="262"/>
                  </a:lnTo>
                  <a:lnTo>
                    <a:pt x="403" y="260"/>
                  </a:lnTo>
                  <a:lnTo>
                    <a:pt x="406" y="257"/>
                  </a:lnTo>
                  <a:lnTo>
                    <a:pt x="407" y="252"/>
                  </a:lnTo>
                  <a:lnTo>
                    <a:pt x="407" y="11"/>
                  </a:lnTo>
                  <a:lnTo>
                    <a:pt x="406" y="7"/>
                  </a:lnTo>
                  <a:lnTo>
                    <a:pt x="403" y="3"/>
                  </a:lnTo>
                  <a:lnTo>
                    <a:pt x="400" y="1"/>
                  </a:lnTo>
                  <a:lnTo>
                    <a:pt x="39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7" name="Group 136"/>
          <p:cNvGrpSpPr/>
          <p:nvPr/>
        </p:nvGrpSpPr>
        <p:grpSpPr>
          <a:xfrm>
            <a:off x="5288950" y="4508304"/>
            <a:ext cx="260656" cy="374434"/>
            <a:chOff x="10502900" y="815975"/>
            <a:chExt cx="200025" cy="287338"/>
          </a:xfrm>
          <a:solidFill>
            <a:srgbClr val="125680"/>
          </a:solidFill>
          <a:effectLst/>
        </p:grpSpPr>
        <p:sp>
          <p:nvSpPr>
            <p:cNvPr id="138" name="Freeform 2127"/>
            <p:cNvSpPr>
              <a:spLocks/>
            </p:cNvSpPr>
            <p:nvPr/>
          </p:nvSpPr>
          <p:spPr bwMode="auto">
            <a:xfrm>
              <a:off x="10502900" y="815975"/>
              <a:ext cx="200025" cy="201613"/>
            </a:xfrm>
            <a:custGeom>
              <a:avLst/>
              <a:gdLst>
                <a:gd name="T0" fmla="*/ 284 w 632"/>
                <a:gd name="T1" fmla="*/ 3 h 632"/>
                <a:gd name="T2" fmla="*/ 237 w 632"/>
                <a:gd name="T3" fmla="*/ 10 h 632"/>
                <a:gd name="T4" fmla="*/ 193 w 632"/>
                <a:gd name="T5" fmla="*/ 26 h 632"/>
                <a:gd name="T6" fmla="*/ 152 w 632"/>
                <a:gd name="T7" fmla="*/ 47 h 632"/>
                <a:gd name="T8" fmla="*/ 115 w 632"/>
                <a:gd name="T9" fmla="*/ 72 h 632"/>
                <a:gd name="T10" fmla="*/ 82 w 632"/>
                <a:gd name="T11" fmla="*/ 104 h 632"/>
                <a:gd name="T12" fmla="*/ 54 w 632"/>
                <a:gd name="T13" fmla="*/ 139 h 632"/>
                <a:gd name="T14" fmla="*/ 31 w 632"/>
                <a:gd name="T15" fmla="*/ 180 h 632"/>
                <a:gd name="T16" fmla="*/ 14 w 632"/>
                <a:gd name="T17" fmla="*/ 222 h 632"/>
                <a:gd name="T18" fmla="*/ 4 w 632"/>
                <a:gd name="T19" fmla="*/ 269 h 632"/>
                <a:gd name="T20" fmla="*/ 0 w 632"/>
                <a:gd name="T21" fmla="*/ 316 h 632"/>
                <a:gd name="T22" fmla="*/ 3 w 632"/>
                <a:gd name="T23" fmla="*/ 363 h 632"/>
                <a:gd name="T24" fmla="*/ 14 w 632"/>
                <a:gd name="T25" fmla="*/ 407 h 632"/>
                <a:gd name="T26" fmla="*/ 30 w 632"/>
                <a:gd name="T27" fmla="*/ 450 h 632"/>
                <a:gd name="T28" fmla="*/ 50 w 632"/>
                <a:gd name="T29" fmla="*/ 489 h 632"/>
                <a:gd name="T30" fmla="*/ 77 w 632"/>
                <a:gd name="T31" fmla="*/ 523 h 632"/>
                <a:gd name="T32" fmla="*/ 109 w 632"/>
                <a:gd name="T33" fmla="*/ 555 h 632"/>
                <a:gd name="T34" fmla="*/ 144 w 632"/>
                <a:gd name="T35" fmla="*/ 581 h 632"/>
                <a:gd name="T36" fmla="*/ 183 w 632"/>
                <a:gd name="T37" fmla="*/ 602 h 632"/>
                <a:gd name="T38" fmla="*/ 225 w 632"/>
                <a:gd name="T39" fmla="*/ 618 h 632"/>
                <a:gd name="T40" fmla="*/ 270 w 632"/>
                <a:gd name="T41" fmla="*/ 628 h 632"/>
                <a:gd name="T42" fmla="*/ 301 w 632"/>
                <a:gd name="T43" fmla="*/ 473 h 632"/>
                <a:gd name="T44" fmla="*/ 256 w 632"/>
                <a:gd name="T45" fmla="*/ 512 h 632"/>
                <a:gd name="T46" fmla="*/ 185 w 632"/>
                <a:gd name="T47" fmla="*/ 447 h 632"/>
                <a:gd name="T48" fmla="*/ 181 w 632"/>
                <a:gd name="T49" fmla="*/ 431 h 632"/>
                <a:gd name="T50" fmla="*/ 196 w 632"/>
                <a:gd name="T51" fmla="*/ 421 h 632"/>
                <a:gd name="T52" fmla="*/ 256 w 632"/>
                <a:gd name="T53" fmla="*/ 475 h 632"/>
                <a:gd name="T54" fmla="*/ 309 w 632"/>
                <a:gd name="T55" fmla="*/ 423 h 632"/>
                <a:gd name="T56" fmla="*/ 319 w 632"/>
                <a:gd name="T57" fmla="*/ 421 h 632"/>
                <a:gd name="T58" fmla="*/ 326 w 632"/>
                <a:gd name="T59" fmla="*/ 426 h 632"/>
                <a:gd name="T60" fmla="*/ 430 w 632"/>
                <a:gd name="T61" fmla="*/ 423 h 632"/>
                <a:gd name="T62" fmla="*/ 446 w 632"/>
                <a:gd name="T63" fmla="*/ 426 h 632"/>
                <a:gd name="T64" fmla="*/ 450 w 632"/>
                <a:gd name="T65" fmla="*/ 442 h 632"/>
                <a:gd name="T66" fmla="*/ 381 w 632"/>
                <a:gd name="T67" fmla="*/ 511 h 632"/>
                <a:gd name="T68" fmla="*/ 365 w 632"/>
                <a:gd name="T69" fmla="*/ 507 h 632"/>
                <a:gd name="T70" fmla="*/ 346 w 632"/>
                <a:gd name="T71" fmla="*/ 630 h 632"/>
                <a:gd name="T72" fmla="*/ 391 w 632"/>
                <a:gd name="T73" fmla="*/ 623 h 632"/>
                <a:gd name="T74" fmla="*/ 434 w 632"/>
                <a:gd name="T75" fmla="*/ 608 h 632"/>
                <a:gd name="T76" fmla="*/ 474 w 632"/>
                <a:gd name="T77" fmla="*/ 589 h 632"/>
                <a:gd name="T78" fmla="*/ 511 w 632"/>
                <a:gd name="T79" fmla="*/ 564 h 632"/>
                <a:gd name="T80" fmla="*/ 544 w 632"/>
                <a:gd name="T81" fmla="*/ 534 h 632"/>
                <a:gd name="T82" fmla="*/ 572 w 632"/>
                <a:gd name="T83" fmla="*/ 501 h 632"/>
                <a:gd name="T84" fmla="*/ 595 w 632"/>
                <a:gd name="T85" fmla="*/ 463 h 632"/>
                <a:gd name="T86" fmla="*/ 613 w 632"/>
                <a:gd name="T87" fmla="*/ 421 h 632"/>
                <a:gd name="T88" fmla="*/ 626 w 632"/>
                <a:gd name="T89" fmla="*/ 378 h 632"/>
                <a:gd name="T90" fmla="*/ 631 w 632"/>
                <a:gd name="T91" fmla="*/ 332 h 632"/>
                <a:gd name="T92" fmla="*/ 629 w 632"/>
                <a:gd name="T93" fmla="*/ 283 h 632"/>
                <a:gd name="T94" fmla="*/ 622 w 632"/>
                <a:gd name="T95" fmla="*/ 237 h 632"/>
                <a:gd name="T96" fmla="*/ 606 w 632"/>
                <a:gd name="T97" fmla="*/ 193 h 632"/>
                <a:gd name="T98" fmla="*/ 585 w 632"/>
                <a:gd name="T99" fmla="*/ 153 h 632"/>
                <a:gd name="T100" fmla="*/ 560 w 632"/>
                <a:gd name="T101" fmla="*/ 115 h 632"/>
                <a:gd name="T102" fmla="*/ 528 w 632"/>
                <a:gd name="T103" fmla="*/ 82 h 632"/>
                <a:gd name="T104" fmla="*/ 492 w 632"/>
                <a:gd name="T105" fmla="*/ 54 h 632"/>
                <a:gd name="T106" fmla="*/ 452 w 632"/>
                <a:gd name="T107" fmla="*/ 32 h 632"/>
                <a:gd name="T108" fmla="*/ 409 w 632"/>
                <a:gd name="T109" fmla="*/ 15 h 632"/>
                <a:gd name="T110" fmla="*/ 364 w 632"/>
                <a:gd name="T111" fmla="*/ 4 h 632"/>
                <a:gd name="T112" fmla="*/ 315 w 632"/>
                <a:gd name="T113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32" h="632">
                  <a:moveTo>
                    <a:pt x="315" y="0"/>
                  </a:moveTo>
                  <a:lnTo>
                    <a:pt x="299" y="1"/>
                  </a:lnTo>
                  <a:lnTo>
                    <a:pt x="284" y="3"/>
                  </a:lnTo>
                  <a:lnTo>
                    <a:pt x="268" y="4"/>
                  </a:lnTo>
                  <a:lnTo>
                    <a:pt x="252" y="6"/>
                  </a:lnTo>
                  <a:lnTo>
                    <a:pt x="237" y="10"/>
                  </a:lnTo>
                  <a:lnTo>
                    <a:pt x="221" y="15"/>
                  </a:lnTo>
                  <a:lnTo>
                    <a:pt x="207" y="20"/>
                  </a:lnTo>
                  <a:lnTo>
                    <a:pt x="193" y="26"/>
                  </a:lnTo>
                  <a:lnTo>
                    <a:pt x="179" y="32"/>
                  </a:lnTo>
                  <a:lnTo>
                    <a:pt x="165" y="38"/>
                  </a:lnTo>
                  <a:lnTo>
                    <a:pt x="152" y="47"/>
                  </a:lnTo>
                  <a:lnTo>
                    <a:pt x="139" y="54"/>
                  </a:lnTo>
                  <a:lnTo>
                    <a:pt x="127" y="64"/>
                  </a:lnTo>
                  <a:lnTo>
                    <a:pt x="115" y="72"/>
                  </a:lnTo>
                  <a:lnTo>
                    <a:pt x="103" y="82"/>
                  </a:lnTo>
                  <a:lnTo>
                    <a:pt x="92" y="93"/>
                  </a:lnTo>
                  <a:lnTo>
                    <a:pt x="82" y="104"/>
                  </a:lnTo>
                  <a:lnTo>
                    <a:pt x="72" y="115"/>
                  </a:lnTo>
                  <a:lnTo>
                    <a:pt x="63" y="127"/>
                  </a:lnTo>
                  <a:lnTo>
                    <a:pt x="54" y="139"/>
                  </a:lnTo>
                  <a:lnTo>
                    <a:pt x="45" y="153"/>
                  </a:lnTo>
                  <a:lnTo>
                    <a:pt x="38" y="166"/>
                  </a:lnTo>
                  <a:lnTo>
                    <a:pt x="31" y="180"/>
                  </a:lnTo>
                  <a:lnTo>
                    <a:pt x="25" y="193"/>
                  </a:lnTo>
                  <a:lnTo>
                    <a:pt x="19" y="208"/>
                  </a:lnTo>
                  <a:lnTo>
                    <a:pt x="14" y="222"/>
                  </a:lnTo>
                  <a:lnTo>
                    <a:pt x="10" y="237"/>
                  </a:lnTo>
                  <a:lnTo>
                    <a:pt x="6" y="253"/>
                  </a:lnTo>
                  <a:lnTo>
                    <a:pt x="4" y="269"/>
                  </a:lnTo>
                  <a:lnTo>
                    <a:pt x="1" y="283"/>
                  </a:lnTo>
                  <a:lnTo>
                    <a:pt x="0" y="301"/>
                  </a:lnTo>
                  <a:lnTo>
                    <a:pt x="0" y="316"/>
                  </a:lnTo>
                  <a:lnTo>
                    <a:pt x="0" y="332"/>
                  </a:lnTo>
                  <a:lnTo>
                    <a:pt x="1" y="347"/>
                  </a:lnTo>
                  <a:lnTo>
                    <a:pt x="3" y="363"/>
                  </a:lnTo>
                  <a:lnTo>
                    <a:pt x="6" y="378"/>
                  </a:lnTo>
                  <a:lnTo>
                    <a:pt x="9" y="393"/>
                  </a:lnTo>
                  <a:lnTo>
                    <a:pt x="14" y="407"/>
                  </a:lnTo>
                  <a:lnTo>
                    <a:pt x="17" y="421"/>
                  </a:lnTo>
                  <a:lnTo>
                    <a:pt x="23" y="436"/>
                  </a:lnTo>
                  <a:lnTo>
                    <a:pt x="30" y="450"/>
                  </a:lnTo>
                  <a:lnTo>
                    <a:pt x="36" y="463"/>
                  </a:lnTo>
                  <a:lnTo>
                    <a:pt x="43" y="475"/>
                  </a:lnTo>
                  <a:lnTo>
                    <a:pt x="50" y="489"/>
                  </a:lnTo>
                  <a:lnTo>
                    <a:pt x="59" y="501"/>
                  </a:lnTo>
                  <a:lnTo>
                    <a:pt x="69" y="512"/>
                  </a:lnTo>
                  <a:lnTo>
                    <a:pt x="77" y="523"/>
                  </a:lnTo>
                  <a:lnTo>
                    <a:pt x="87" y="534"/>
                  </a:lnTo>
                  <a:lnTo>
                    <a:pt x="98" y="545"/>
                  </a:lnTo>
                  <a:lnTo>
                    <a:pt x="109" y="555"/>
                  </a:lnTo>
                  <a:lnTo>
                    <a:pt x="120" y="564"/>
                  </a:lnTo>
                  <a:lnTo>
                    <a:pt x="132" y="573"/>
                  </a:lnTo>
                  <a:lnTo>
                    <a:pt x="144" y="581"/>
                  </a:lnTo>
                  <a:lnTo>
                    <a:pt x="157" y="589"/>
                  </a:lnTo>
                  <a:lnTo>
                    <a:pt x="170" y="596"/>
                  </a:lnTo>
                  <a:lnTo>
                    <a:pt x="183" y="602"/>
                  </a:lnTo>
                  <a:lnTo>
                    <a:pt x="197" y="608"/>
                  </a:lnTo>
                  <a:lnTo>
                    <a:pt x="210" y="613"/>
                  </a:lnTo>
                  <a:lnTo>
                    <a:pt x="225" y="618"/>
                  </a:lnTo>
                  <a:lnTo>
                    <a:pt x="240" y="623"/>
                  </a:lnTo>
                  <a:lnTo>
                    <a:pt x="254" y="625"/>
                  </a:lnTo>
                  <a:lnTo>
                    <a:pt x="270" y="628"/>
                  </a:lnTo>
                  <a:lnTo>
                    <a:pt x="285" y="630"/>
                  </a:lnTo>
                  <a:lnTo>
                    <a:pt x="301" y="632"/>
                  </a:lnTo>
                  <a:lnTo>
                    <a:pt x="301" y="473"/>
                  </a:lnTo>
                  <a:lnTo>
                    <a:pt x="267" y="507"/>
                  </a:lnTo>
                  <a:lnTo>
                    <a:pt x="262" y="511"/>
                  </a:lnTo>
                  <a:lnTo>
                    <a:pt x="256" y="512"/>
                  </a:lnTo>
                  <a:lnTo>
                    <a:pt x="249" y="511"/>
                  </a:lnTo>
                  <a:lnTo>
                    <a:pt x="245" y="507"/>
                  </a:lnTo>
                  <a:lnTo>
                    <a:pt x="185" y="447"/>
                  </a:lnTo>
                  <a:lnTo>
                    <a:pt x="181" y="442"/>
                  </a:lnTo>
                  <a:lnTo>
                    <a:pt x="180" y="436"/>
                  </a:lnTo>
                  <a:lnTo>
                    <a:pt x="181" y="431"/>
                  </a:lnTo>
                  <a:lnTo>
                    <a:pt x="185" y="426"/>
                  </a:lnTo>
                  <a:lnTo>
                    <a:pt x="190" y="423"/>
                  </a:lnTo>
                  <a:lnTo>
                    <a:pt x="196" y="421"/>
                  </a:lnTo>
                  <a:lnTo>
                    <a:pt x="201" y="423"/>
                  </a:lnTo>
                  <a:lnTo>
                    <a:pt x="205" y="426"/>
                  </a:lnTo>
                  <a:lnTo>
                    <a:pt x="256" y="475"/>
                  </a:lnTo>
                  <a:lnTo>
                    <a:pt x="304" y="426"/>
                  </a:lnTo>
                  <a:lnTo>
                    <a:pt x="307" y="424"/>
                  </a:lnTo>
                  <a:lnTo>
                    <a:pt x="309" y="423"/>
                  </a:lnTo>
                  <a:lnTo>
                    <a:pt x="313" y="421"/>
                  </a:lnTo>
                  <a:lnTo>
                    <a:pt x="315" y="421"/>
                  </a:lnTo>
                  <a:lnTo>
                    <a:pt x="319" y="421"/>
                  </a:lnTo>
                  <a:lnTo>
                    <a:pt x="321" y="423"/>
                  </a:lnTo>
                  <a:lnTo>
                    <a:pt x="324" y="424"/>
                  </a:lnTo>
                  <a:lnTo>
                    <a:pt x="326" y="426"/>
                  </a:lnTo>
                  <a:lnTo>
                    <a:pt x="375" y="475"/>
                  </a:lnTo>
                  <a:lnTo>
                    <a:pt x="425" y="426"/>
                  </a:lnTo>
                  <a:lnTo>
                    <a:pt x="430" y="423"/>
                  </a:lnTo>
                  <a:lnTo>
                    <a:pt x="436" y="421"/>
                  </a:lnTo>
                  <a:lnTo>
                    <a:pt x="441" y="423"/>
                  </a:lnTo>
                  <a:lnTo>
                    <a:pt x="446" y="426"/>
                  </a:lnTo>
                  <a:lnTo>
                    <a:pt x="450" y="431"/>
                  </a:lnTo>
                  <a:lnTo>
                    <a:pt x="451" y="436"/>
                  </a:lnTo>
                  <a:lnTo>
                    <a:pt x="450" y="442"/>
                  </a:lnTo>
                  <a:lnTo>
                    <a:pt x="446" y="447"/>
                  </a:lnTo>
                  <a:lnTo>
                    <a:pt x="386" y="507"/>
                  </a:lnTo>
                  <a:lnTo>
                    <a:pt x="381" y="511"/>
                  </a:lnTo>
                  <a:lnTo>
                    <a:pt x="375" y="512"/>
                  </a:lnTo>
                  <a:lnTo>
                    <a:pt x="370" y="511"/>
                  </a:lnTo>
                  <a:lnTo>
                    <a:pt x="365" y="507"/>
                  </a:lnTo>
                  <a:lnTo>
                    <a:pt x="330" y="473"/>
                  </a:lnTo>
                  <a:lnTo>
                    <a:pt x="330" y="632"/>
                  </a:lnTo>
                  <a:lnTo>
                    <a:pt x="346" y="630"/>
                  </a:lnTo>
                  <a:lnTo>
                    <a:pt x="362" y="628"/>
                  </a:lnTo>
                  <a:lnTo>
                    <a:pt x="376" y="625"/>
                  </a:lnTo>
                  <a:lnTo>
                    <a:pt x="391" y="623"/>
                  </a:lnTo>
                  <a:lnTo>
                    <a:pt x="406" y="618"/>
                  </a:lnTo>
                  <a:lnTo>
                    <a:pt x="420" y="613"/>
                  </a:lnTo>
                  <a:lnTo>
                    <a:pt x="434" y="608"/>
                  </a:lnTo>
                  <a:lnTo>
                    <a:pt x="449" y="602"/>
                  </a:lnTo>
                  <a:lnTo>
                    <a:pt x="462" y="596"/>
                  </a:lnTo>
                  <a:lnTo>
                    <a:pt x="474" y="589"/>
                  </a:lnTo>
                  <a:lnTo>
                    <a:pt x="488" y="581"/>
                  </a:lnTo>
                  <a:lnTo>
                    <a:pt x="500" y="573"/>
                  </a:lnTo>
                  <a:lnTo>
                    <a:pt x="511" y="564"/>
                  </a:lnTo>
                  <a:lnTo>
                    <a:pt x="522" y="555"/>
                  </a:lnTo>
                  <a:lnTo>
                    <a:pt x="533" y="545"/>
                  </a:lnTo>
                  <a:lnTo>
                    <a:pt x="544" y="534"/>
                  </a:lnTo>
                  <a:lnTo>
                    <a:pt x="554" y="523"/>
                  </a:lnTo>
                  <a:lnTo>
                    <a:pt x="563" y="512"/>
                  </a:lnTo>
                  <a:lnTo>
                    <a:pt x="572" y="501"/>
                  </a:lnTo>
                  <a:lnTo>
                    <a:pt x="580" y="489"/>
                  </a:lnTo>
                  <a:lnTo>
                    <a:pt x="588" y="475"/>
                  </a:lnTo>
                  <a:lnTo>
                    <a:pt x="595" y="463"/>
                  </a:lnTo>
                  <a:lnTo>
                    <a:pt x="602" y="450"/>
                  </a:lnTo>
                  <a:lnTo>
                    <a:pt x="609" y="436"/>
                  </a:lnTo>
                  <a:lnTo>
                    <a:pt x="613" y="421"/>
                  </a:lnTo>
                  <a:lnTo>
                    <a:pt x="618" y="408"/>
                  </a:lnTo>
                  <a:lnTo>
                    <a:pt x="622" y="393"/>
                  </a:lnTo>
                  <a:lnTo>
                    <a:pt x="626" y="378"/>
                  </a:lnTo>
                  <a:lnTo>
                    <a:pt x="628" y="363"/>
                  </a:lnTo>
                  <a:lnTo>
                    <a:pt x="631" y="347"/>
                  </a:lnTo>
                  <a:lnTo>
                    <a:pt x="631" y="332"/>
                  </a:lnTo>
                  <a:lnTo>
                    <a:pt x="632" y="316"/>
                  </a:lnTo>
                  <a:lnTo>
                    <a:pt x="631" y="301"/>
                  </a:lnTo>
                  <a:lnTo>
                    <a:pt x="629" y="283"/>
                  </a:lnTo>
                  <a:lnTo>
                    <a:pt x="628" y="269"/>
                  </a:lnTo>
                  <a:lnTo>
                    <a:pt x="626" y="253"/>
                  </a:lnTo>
                  <a:lnTo>
                    <a:pt x="622" y="237"/>
                  </a:lnTo>
                  <a:lnTo>
                    <a:pt x="617" y="222"/>
                  </a:lnTo>
                  <a:lnTo>
                    <a:pt x="612" y="208"/>
                  </a:lnTo>
                  <a:lnTo>
                    <a:pt x="606" y="193"/>
                  </a:lnTo>
                  <a:lnTo>
                    <a:pt x="600" y="180"/>
                  </a:lnTo>
                  <a:lnTo>
                    <a:pt x="594" y="166"/>
                  </a:lnTo>
                  <a:lnTo>
                    <a:pt x="585" y="153"/>
                  </a:lnTo>
                  <a:lnTo>
                    <a:pt x="578" y="139"/>
                  </a:lnTo>
                  <a:lnTo>
                    <a:pt x="568" y="127"/>
                  </a:lnTo>
                  <a:lnTo>
                    <a:pt x="560" y="115"/>
                  </a:lnTo>
                  <a:lnTo>
                    <a:pt x="550" y="104"/>
                  </a:lnTo>
                  <a:lnTo>
                    <a:pt x="539" y="93"/>
                  </a:lnTo>
                  <a:lnTo>
                    <a:pt x="528" y="82"/>
                  </a:lnTo>
                  <a:lnTo>
                    <a:pt x="517" y="72"/>
                  </a:lnTo>
                  <a:lnTo>
                    <a:pt x="505" y="64"/>
                  </a:lnTo>
                  <a:lnTo>
                    <a:pt x="492" y="54"/>
                  </a:lnTo>
                  <a:lnTo>
                    <a:pt x="479" y="47"/>
                  </a:lnTo>
                  <a:lnTo>
                    <a:pt x="466" y="38"/>
                  </a:lnTo>
                  <a:lnTo>
                    <a:pt x="452" y="32"/>
                  </a:lnTo>
                  <a:lnTo>
                    <a:pt x="439" y="26"/>
                  </a:lnTo>
                  <a:lnTo>
                    <a:pt x="424" y="20"/>
                  </a:lnTo>
                  <a:lnTo>
                    <a:pt x="409" y="15"/>
                  </a:lnTo>
                  <a:lnTo>
                    <a:pt x="395" y="10"/>
                  </a:lnTo>
                  <a:lnTo>
                    <a:pt x="379" y="6"/>
                  </a:lnTo>
                  <a:lnTo>
                    <a:pt x="364" y="4"/>
                  </a:lnTo>
                  <a:lnTo>
                    <a:pt x="348" y="3"/>
                  </a:lnTo>
                  <a:lnTo>
                    <a:pt x="331" y="1"/>
                  </a:lnTo>
                  <a:lnTo>
                    <a:pt x="3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2128"/>
            <p:cNvSpPr>
              <a:spLocks/>
            </p:cNvSpPr>
            <p:nvPr/>
          </p:nvSpPr>
          <p:spPr bwMode="auto">
            <a:xfrm>
              <a:off x="10569575" y="1036638"/>
              <a:ext cx="66675" cy="9525"/>
            </a:xfrm>
            <a:custGeom>
              <a:avLst/>
              <a:gdLst>
                <a:gd name="T0" fmla="*/ 196 w 210"/>
                <a:gd name="T1" fmla="*/ 0 h 29"/>
                <a:gd name="T2" fmla="*/ 15 w 210"/>
                <a:gd name="T3" fmla="*/ 0 h 29"/>
                <a:gd name="T4" fmla="*/ 9 w 210"/>
                <a:gd name="T5" fmla="*/ 1 h 29"/>
                <a:gd name="T6" fmla="*/ 5 w 210"/>
                <a:gd name="T7" fmla="*/ 3 h 29"/>
                <a:gd name="T8" fmla="*/ 2 w 210"/>
                <a:gd name="T9" fmla="*/ 8 h 29"/>
                <a:gd name="T10" fmla="*/ 0 w 210"/>
                <a:gd name="T11" fmla="*/ 14 h 29"/>
                <a:gd name="T12" fmla="*/ 2 w 210"/>
                <a:gd name="T13" fmla="*/ 20 h 29"/>
                <a:gd name="T14" fmla="*/ 5 w 210"/>
                <a:gd name="T15" fmla="*/ 25 h 29"/>
                <a:gd name="T16" fmla="*/ 9 w 210"/>
                <a:gd name="T17" fmla="*/ 28 h 29"/>
                <a:gd name="T18" fmla="*/ 15 w 210"/>
                <a:gd name="T19" fmla="*/ 29 h 29"/>
                <a:gd name="T20" fmla="*/ 196 w 210"/>
                <a:gd name="T21" fmla="*/ 29 h 29"/>
                <a:gd name="T22" fmla="*/ 202 w 210"/>
                <a:gd name="T23" fmla="*/ 28 h 29"/>
                <a:gd name="T24" fmla="*/ 207 w 210"/>
                <a:gd name="T25" fmla="*/ 25 h 29"/>
                <a:gd name="T26" fmla="*/ 209 w 210"/>
                <a:gd name="T27" fmla="*/ 20 h 29"/>
                <a:gd name="T28" fmla="*/ 210 w 210"/>
                <a:gd name="T29" fmla="*/ 14 h 29"/>
                <a:gd name="T30" fmla="*/ 209 w 210"/>
                <a:gd name="T31" fmla="*/ 8 h 29"/>
                <a:gd name="T32" fmla="*/ 207 w 210"/>
                <a:gd name="T33" fmla="*/ 3 h 29"/>
                <a:gd name="T34" fmla="*/ 202 w 210"/>
                <a:gd name="T35" fmla="*/ 1 h 29"/>
                <a:gd name="T36" fmla="*/ 196 w 210"/>
                <a:gd name="T3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0" h="29">
                  <a:moveTo>
                    <a:pt x="196" y="0"/>
                  </a:moveTo>
                  <a:lnTo>
                    <a:pt x="15" y="0"/>
                  </a:lnTo>
                  <a:lnTo>
                    <a:pt x="9" y="1"/>
                  </a:lnTo>
                  <a:lnTo>
                    <a:pt x="5" y="3"/>
                  </a:lnTo>
                  <a:lnTo>
                    <a:pt x="2" y="8"/>
                  </a:lnTo>
                  <a:lnTo>
                    <a:pt x="0" y="14"/>
                  </a:lnTo>
                  <a:lnTo>
                    <a:pt x="2" y="20"/>
                  </a:lnTo>
                  <a:lnTo>
                    <a:pt x="5" y="25"/>
                  </a:lnTo>
                  <a:lnTo>
                    <a:pt x="9" y="28"/>
                  </a:lnTo>
                  <a:lnTo>
                    <a:pt x="15" y="29"/>
                  </a:lnTo>
                  <a:lnTo>
                    <a:pt x="196" y="29"/>
                  </a:lnTo>
                  <a:lnTo>
                    <a:pt x="202" y="28"/>
                  </a:lnTo>
                  <a:lnTo>
                    <a:pt x="207" y="25"/>
                  </a:lnTo>
                  <a:lnTo>
                    <a:pt x="209" y="20"/>
                  </a:lnTo>
                  <a:lnTo>
                    <a:pt x="210" y="14"/>
                  </a:lnTo>
                  <a:lnTo>
                    <a:pt x="209" y="8"/>
                  </a:lnTo>
                  <a:lnTo>
                    <a:pt x="207" y="3"/>
                  </a:lnTo>
                  <a:lnTo>
                    <a:pt x="202" y="1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2129"/>
            <p:cNvSpPr>
              <a:spLocks/>
            </p:cNvSpPr>
            <p:nvPr/>
          </p:nvSpPr>
          <p:spPr bwMode="auto">
            <a:xfrm>
              <a:off x="10569575" y="1055688"/>
              <a:ext cx="66675" cy="9525"/>
            </a:xfrm>
            <a:custGeom>
              <a:avLst/>
              <a:gdLst>
                <a:gd name="T0" fmla="*/ 196 w 210"/>
                <a:gd name="T1" fmla="*/ 0 h 31"/>
                <a:gd name="T2" fmla="*/ 15 w 210"/>
                <a:gd name="T3" fmla="*/ 0 h 31"/>
                <a:gd name="T4" fmla="*/ 9 w 210"/>
                <a:gd name="T5" fmla="*/ 2 h 31"/>
                <a:gd name="T6" fmla="*/ 5 w 210"/>
                <a:gd name="T7" fmla="*/ 5 h 31"/>
                <a:gd name="T8" fmla="*/ 2 w 210"/>
                <a:gd name="T9" fmla="*/ 10 h 31"/>
                <a:gd name="T10" fmla="*/ 0 w 210"/>
                <a:gd name="T11" fmla="*/ 15 h 31"/>
                <a:gd name="T12" fmla="*/ 2 w 210"/>
                <a:gd name="T13" fmla="*/ 21 h 31"/>
                <a:gd name="T14" fmla="*/ 5 w 210"/>
                <a:gd name="T15" fmla="*/ 26 h 31"/>
                <a:gd name="T16" fmla="*/ 9 w 210"/>
                <a:gd name="T17" fmla="*/ 30 h 31"/>
                <a:gd name="T18" fmla="*/ 15 w 210"/>
                <a:gd name="T19" fmla="*/ 31 h 31"/>
                <a:gd name="T20" fmla="*/ 196 w 210"/>
                <a:gd name="T21" fmla="*/ 31 h 31"/>
                <a:gd name="T22" fmla="*/ 202 w 210"/>
                <a:gd name="T23" fmla="*/ 30 h 31"/>
                <a:gd name="T24" fmla="*/ 207 w 210"/>
                <a:gd name="T25" fmla="*/ 26 h 31"/>
                <a:gd name="T26" fmla="*/ 209 w 210"/>
                <a:gd name="T27" fmla="*/ 21 h 31"/>
                <a:gd name="T28" fmla="*/ 210 w 210"/>
                <a:gd name="T29" fmla="*/ 15 h 31"/>
                <a:gd name="T30" fmla="*/ 209 w 210"/>
                <a:gd name="T31" fmla="*/ 10 h 31"/>
                <a:gd name="T32" fmla="*/ 207 w 210"/>
                <a:gd name="T33" fmla="*/ 5 h 31"/>
                <a:gd name="T34" fmla="*/ 202 w 210"/>
                <a:gd name="T35" fmla="*/ 2 h 31"/>
                <a:gd name="T36" fmla="*/ 196 w 210"/>
                <a:gd name="T3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0" h="31">
                  <a:moveTo>
                    <a:pt x="196" y="0"/>
                  </a:moveTo>
                  <a:lnTo>
                    <a:pt x="15" y="0"/>
                  </a:lnTo>
                  <a:lnTo>
                    <a:pt x="9" y="2"/>
                  </a:lnTo>
                  <a:lnTo>
                    <a:pt x="5" y="5"/>
                  </a:lnTo>
                  <a:lnTo>
                    <a:pt x="2" y="10"/>
                  </a:lnTo>
                  <a:lnTo>
                    <a:pt x="0" y="15"/>
                  </a:lnTo>
                  <a:lnTo>
                    <a:pt x="2" y="21"/>
                  </a:lnTo>
                  <a:lnTo>
                    <a:pt x="5" y="26"/>
                  </a:lnTo>
                  <a:lnTo>
                    <a:pt x="9" y="30"/>
                  </a:lnTo>
                  <a:lnTo>
                    <a:pt x="15" y="31"/>
                  </a:lnTo>
                  <a:lnTo>
                    <a:pt x="196" y="31"/>
                  </a:lnTo>
                  <a:lnTo>
                    <a:pt x="202" y="30"/>
                  </a:lnTo>
                  <a:lnTo>
                    <a:pt x="207" y="26"/>
                  </a:lnTo>
                  <a:lnTo>
                    <a:pt x="209" y="21"/>
                  </a:lnTo>
                  <a:lnTo>
                    <a:pt x="210" y="15"/>
                  </a:lnTo>
                  <a:lnTo>
                    <a:pt x="209" y="10"/>
                  </a:lnTo>
                  <a:lnTo>
                    <a:pt x="207" y="5"/>
                  </a:lnTo>
                  <a:lnTo>
                    <a:pt x="202" y="2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2130"/>
            <p:cNvSpPr>
              <a:spLocks/>
            </p:cNvSpPr>
            <p:nvPr/>
          </p:nvSpPr>
          <p:spPr bwMode="auto">
            <a:xfrm>
              <a:off x="10569575" y="1074738"/>
              <a:ext cx="66675" cy="28575"/>
            </a:xfrm>
            <a:custGeom>
              <a:avLst/>
              <a:gdLst>
                <a:gd name="T0" fmla="*/ 196 w 210"/>
                <a:gd name="T1" fmla="*/ 0 h 91"/>
                <a:gd name="T2" fmla="*/ 15 w 210"/>
                <a:gd name="T3" fmla="*/ 0 h 91"/>
                <a:gd name="T4" fmla="*/ 9 w 210"/>
                <a:gd name="T5" fmla="*/ 1 h 91"/>
                <a:gd name="T6" fmla="*/ 5 w 210"/>
                <a:gd name="T7" fmla="*/ 5 h 91"/>
                <a:gd name="T8" fmla="*/ 2 w 210"/>
                <a:gd name="T9" fmla="*/ 10 h 91"/>
                <a:gd name="T10" fmla="*/ 0 w 210"/>
                <a:gd name="T11" fmla="*/ 16 h 91"/>
                <a:gd name="T12" fmla="*/ 2 w 210"/>
                <a:gd name="T13" fmla="*/ 21 h 91"/>
                <a:gd name="T14" fmla="*/ 5 w 210"/>
                <a:gd name="T15" fmla="*/ 26 h 91"/>
                <a:gd name="T16" fmla="*/ 9 w 210"/>
                <a:gd name="T17" fmla="*/ 30 h 91"/>
                <a:gd name="T18" fmla="*/ 15 w 210"/>
                <a:gd name="T19" fmla="*/ 31 h 91"/>
                <a:gd name="T20" fmla="*/ 91 w 210"/>
                <a:gd name="T21" fmla="*/ 31 h 91"/>
                <a:gd name="T22" fmla="*/ 91 w 210"/>
                <a:gd name="T23" fmla="*/ 76 h 91"/>
                <a:gd name="T24" fmla="*/ 92 w 210"/>
                <a:gd name="T25" fmla="*/ 82 h 91"/>
                <a:gd name="T26" fmla="*/ 94 w 210"/>
                <a:gd name="T27" fmla="*/ 87 h 91"/>
                <a:gd name="T28" fmla="*/ 99 w 210"/>
                <a:gd name="T29" fmla="*/ 89 h 91"/>
                <a:gd name="T30" fmla="*/ 105 w 210"/>
                <a:gd name="T31" fmla="*/ 91 h 91"/>
                <a:gd name="T32" fmla="*/ 111 w 210"/>
                <a:gd name="T33" fmla="*/ 89 h 91"/>
                <a:gd name="T34" fmla="*/ 116 w 210"/>
                <a:gd name="T35" fmla="*/ 87 h 91"/>
                <a:gd name="T36" fmla="*/ 120 w 210"/>
                <a:gd name="T37" fmla="*/ 82 h 91"/>
                <a:gd name="T38" fmla="*/ 120 w 210"/>
                <a:gd name="T39" fmla="*/ 76 h 91"/>
                <a:gd name="T40" fmla="*/ 120 w 210"/>
                <a:gd name="T41" fmla="*/ 31 h 91"/>
                <a:gd name="T42" fmla="*/ 196 w 210"/>
                <a:gd name="T43" fmla="*/ 31 h 91"/>
                <a:gd name="T44" fmla="*/ 202 w 210"/>
                <a:gd name="T45" fmla="*/ 30 h 91"/>
                <a:gd name="T46" fmla="*/ 207 w 210"/>
                <a:gd name="T47" fmla="*/ 26 h 91"/>
                <a:gd name="T48" fmla="*/ 209 w 210"/>
                <a:gd name="T49" fmla="*/ 21 h 91"/>
                <a:gd name="T50" fmla="*/ 210 w 210"/>
                <a:gd name="T51" fmla="*/ 16 h 91"/>
                <a:gd name="T52" fmla="*/ 209 w 210"/>
                <a:gd name="T53" fmla="*/ 10 h 91"/>
                <a:gd name="T54" fmla="*/ 207 w 210"/>
                <a:gd name="T55" fmla="*/ 5 h 91"/>
                <a:gd name="T56" fmla="*/ 202 w 210"/>
                <a:gd name="T57" fmla="*/ 1 h 91"/>
                <a:gd name="T58" fmla="*/ 196 w 210"/>
                <a:gd name="T5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10" h="91">
                  <a:moveTo>
                    <a:pt x="196" y="0"/>
                  </a:moveTo>
                  <a:lnTo>
                    <a:pt x="15" y="0"/>
                  </a:lnTo>
                  <a:lnTo>
                    <a:pt x="9" y="1"/>
                  </a:lnTo>
                  <a:lnTo>
                    <a:pt x="5" y="5"/>
                  </a:lnTo>
                  <a:lnTo>
                    <a:pt x="2" y="10"/>
                  </a:lnTo>
                  <a:lnTo>
                    <a:pt x="0" y="16"/>
                  </a:lnTo>
                  <a:lnTo>
                    <a:pt x="2" y="21"/>
                  </a:lnTo>
                  <a:lnTo>
                    <a:pt x="5" y="26"/>
                  </a:lnTo>
                  <a:lnTo>
                    <a:pt x="9" y="30"/>
                  </a:lnTo>
                  <a:lnTo>
                    <a:pt x="15" y="31"/>
                  </a:lnTo>
                  <a:lnTo>
                    <a:pt x="91" y="31"/>
                  </a:lnTo>
                  <a:lnTo>
                    <a:pt x="91" y="76"/>
                  </a:lnTo>
                  <a:lnTo>
                    <a:pt x="92" y="82"/>
                  </a:lnTo>
                  <a:lnTo>
                    <a:pt x="94" y="87"/>
                  </a:lnTo>
                  <a:lnTo>
                    <a:pt x="99" y="89"/>
                  </a:lnTo>
                  <a:lnTo>
                    <a:pt x="105" y="91"/>
                  </a:lnTo>
                  <a:lnTo>
                    <a:pt x="111" y="89"/>
                  </a:lnTo>
                  <a:lnTo>
                    <a:pt x="116" y="87"/>
                  </a:lnTo>
                  <a:lnTo>
                    <a:pt x="120" y="82"/>
                  </a:lnTo>
                  <a:lnTo>
                    <a:pt x="120" y="76"/>
                  </a:lnTo>
                  <a:lnTo>
                    <a:pt x="120" y="31"/>
                  </a:lnTo>
                  <a:lnTo>
                    <a:pt x="196" y="31"/>
                  </a:lnTo>
                  <a:lnTo>
                    <a:pt x="202" y="30"/>
                  </a:lnTo>
                  <a:lnTo>
                    <a:pt x="207" y="26"/>
                  </a:lnTo>
                  <a:lnTo>
                    <a:pt x="209" y="21"/>
                  </a:lnTo>
                  <a:lnTo>
                    <a:pt x="210" y="16"/>
                  </a:lnTo>
                  <a:lnTo>
                    <a:pt x="209" y="10"/>
                  </a:lnTo>
                  <a:lnTo>
                    <a:pt x="207" y="5"/>
                  </a:lnTo>
                  <a:lnTo>
                    <a:pt x="202" y="1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3" name="Picture 2" descr="Text&#10;&#10;Description automatically generated">
            <a:extLst>
              <a:ext uri="{FF2B5EF4-FFF2-40B4-BE49-F238E27FC236}">
                <a16:creationId xmlns:a16="http://schemas.microsoft.com/office/drawing/2014/main" id="{43CCE91F-801D-44C3-8366-5903B75B763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46" b="17374"/>
          <a:stretch/>
        </p:blipFill>
        <p:spPr>
          <a:xfrm>
            <a:off x="337126" y="604833"/>
            <a:ext cx="2681404" cy="4514588"/>
          </a:xfrm>
          <a:prstGeom prst="rect">
            <a:avLst/>
          </a:prstGeom>
        </p:spPr>
      </p:pic>
      <p:grpSp>
        <p:nvGrpSpPr>
          <p:cNvPr id="77" name="Group 4">
            <a:extLst>
              <a:ext uri="{FF2B5EF4-FFF2-40B4-BE49-F238E27FC236}">
                <a16:creationId xmlns:a16="http://schemas.microsoft.com/office/drawing/2014/main" id="{610B3231-7174-46FA-AD1A-B9FFD565F306}"/>
              </a:ext>
            </a:extLst>
          </p:cNvPr>
          <p:cNvGrpSpPr>
            <a:grpSpLocks noChangeAspect="1"/>
          </p:cNvGrpSpPr>
          <p:nvPr/>
        </p:nvGrpSpPr>
        <p:grpSpPr bwMode="auto">
          <a:xfrm flipH="1">
            <a:off x="1759167" y="899048"/>
            <a:ext cx="2921862" cy="5521180"/>
            <a:chOff x="3532" y="1579"/>
            <a:chExt cx="616" cy="1164"/>
          </a:xfrm>
        </p:grpSpPr>
        <p:sp>
          <p:nvSpPr>
            <p:cNvPr id="78" name="Freeform 5">
              <a:extLst>
                <a:ext uri="{FF2B5EF4-FFF2-40B4-BE49-F238E27FC236}">
                  <a16:creationId xmlns:a16="http://schemas.microsoft.com/office/drawing/2014/main" id="{AFA23E57-8384-4B6B-956D-6C386B1B9E5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2" y="1579"/>
              <a:ext cx="616" cy="1164"/>
            </a:xfrm>
            <a:custGeom>
              <a:avLst/>
              <a:gdLst>
                <a:gd name="T0" fmla="*/ 238 w 258"/>
                <a:gd name="T1" fmla="*/ 490 h 490"/>
                <a:gd name="T2" fmla="*/ 20 w 258"/>
                <a:gd name="T3" fmla="*/ 490 h 490"/>
                <a:gd name="T4" fmla="*/ 0 w 258"/>
                <a:gd name="T5" fmla="*/ 470 h 490"/>
                <a:gd name="T6" fmla="*/ 0 w 258"/>
                <a:gd name="T7" fmla="*/ 20 h 490"/>
                <a:gd name="T8" fmla="*/ 20 w 258"/>
                <a:gd name="T9" fmla="*/ 0 h 490"/>
                <a:gd name="T10" fmla="*/ 238 w 258"/>
                <a:gd name="T11" fmla="*/ 0 h 490"/>
                <a:gd name="T12" fmla="*/ 258 w 258"/>
                <a:gd name="T13" fmla="*/ 20 h 490"/>
                <a:gd name="T14" fmla="*/ 258 w 258"/>
                <a:gd name="T15" fmla="*/ 470 h 490"/>
                <a:gd name="T16" fmla="*/ 238 w 258"/>
                <a:gd name="T17" fmla="*/ 49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490">
                  <a:moveTo>
                    <a:pt x="238" y="490"/>
                  </a:moveTo>
                  <a:cubicBezTo>
                    <a:pt x="20" y="490"/>
                    <a:pt x="20" y="490"/>
                    <a:pt x="20" y="490"/>
                  </a:cubicBezTo>
                  <a:cubicBezTo>
                    <a:pt x="9" y="490"/>
                    <a:pt x="0" y="481"/>
                    <a:pt x="0" y="47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238" y="0"/>
                    <a:pt x="238" y="0"/>
                    <a:pt x="238" y="0"/>
                  </a:cubicBezTo>
                  <a:cubicBezTo>
                    <a:pt x="249" y="0"/>
                    <a:pt x="258" y="9"/>
                    <a:pt x="258" y="20"/>
                  </a:cubicBezTo>
                  <a:cubicBezTo>
                    <a:pt x="258" y="470"/>
                    <a:pt x="258" y="470"/>
                    <a:pt x="258" y="470"/>
                  </a:cubicBezTo>
                  <a:cubicBezTo>
                    <a:pt x="258" y="481"/>
                    <a:pt x="249" y="490"/>
                    <a:pt x="238" y="490"/>
                  </a:cubicBezTo>
                  <a:close/>
                </a:path>
              </a:pathLst>
            </a:custGeom>
            <a:gradFill>
              <a:gsLst>
                <a:gs pos="100000">
                  <a:srgbClr val="B0F7F4"/>
                </a:gs>
                <a:gs pos="0">
                  <a:srgbClr val="B0F7F4"/>
                </a:gs>
                <a:gs pos="5900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6">
              <a:extLst>
                <a:ext uri="{FF2B5EF4-FFF2-40B4-BE49-F238E27FC236}">
                  <a16:creationId xmlns:a16="http://schemas.microsoft.com/office/drawing/2014/main" id="{D7AC51EB-22E3-4579-A64D-306C03D862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1" y="1672"/>
              <a:ext cx="556" cy="945"/>
            </a:xfrm>
            <a:prstGeom prst="rect">
              <a:avLst/>
            </a:prstGeom>
            <a:gradFill flip="none" rotWithShape="1">
              <a:gsLst>
                <a:gs pos="23000">
                  <a:srgbClr val="09192F"/>
                </a:gs>
                <a:gs pos="100000">
                  <a:srgbClr val="125680"/>
                </a:gs>
                <a:gs pos="0">
                  <a:srgbClr val="070C1E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Oval 7">
              <a:extLst>
                <a:ext uri="{FF2B5EF4-FFF2-40B4-BE49-F238E27FC236}">
                  <a16:creationId xmlns:a16="http://schemas.microsoft.com/office/drawing/2014/main" id="{D9672097-CAA2-464F-AF05-42A6A3626C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0" y="2652"/>
              <a:ext cx="61" cy="61"/>
            </a:xfrm>
            <a:prstGeom prst="ellipse">
              <a:avLst/>
            </a:prstGeom>
            <a:gradFill flip="none" rotWithShape="1">
              <a:gsLst>
                <a:gs pos="36000">
                  <a:srgbClr val="09192F"/>
                </a:gs>
                <a:gs pos="100000">
                  <a:srgbClr val="125680"/>
                </a:gs>
                <a:gs pos="0">
                  <a:srgbClr val="070C1E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8">
              <a:extLst>
                <a:ext uri="{FF2B5EF4-FFF2-40B4-BE49-F238E27FC236}">
                  <a16:creationId xmlns:a16="http://schemas.microsoft.com/office/drawing/2014/main" id="{4740FDB8-1636-4E7D-AE18-3A68D6949C4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1" y="1624"/>
              <a:ext cx="138" cy="12"/>
            </a:xfrm>
            <a:custGeom>
              <a:avLst/>
              <a:gdLst>
                <a:gd name="T0" fmla="*/ 56 w 58"/>
                <a:gd name="T1" fmla="*/ 5 h 5"/>
                <a:gd name="T2" fmla="*/ 2 w 58"/>
                <a:gd name="T3" fmla="*/ 5 h 5"/>
                <a:gd name="T4" fmla="*/ 0 w 58"/>
                <a:gd name="T5" fmla="*/ 2 h 5"/>
                <a:gd name="T6" fmla="*/ 0 w 58"/>
                <a:gd name="T7" fmla="*/ 2 h 5"/>
                <a:gd name="T8" fmla="*/ 2 w 58"/>
                <a:gd name="T9" fmla="*/ 0 h 5"/>
                <a:gd name="T10" fmla="*/ 56 w 58"/>
                <a:gd name="T11" fmla="*/ 0 h 5"/>
                <a:gd name="T12" fmla="*/ 58 w 58"/>
                <a:gd name="T13" fmla="*/ 2 h 5"/>
                <a:gd name="T14" fmla="*/ 58 w 58"/>
                <a:gd name="T15" fmla="*/ 2 h 5"/>
                <a:gd name="T16" fmla="*/ 56 w 58"/>
                <a:gd name="T1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" h="5">
                  <a:moveTo>
                    <a:pt x="56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7" y="0"/>
                    <a:pt x="58" y="1"/>
                    <a:pt x="58" y="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8" y="4"/>
                    <a:pt x="57" y="5"/>
                    <a:pt x="56" y="5"/>
                  </a:cubicBezTo>
                  <a:close/>
                </a:path>
              </a:pathLst>
            </a:custGeom>
            <a:gradFill flip="none" rotWithShape="1">
              <a:gsLst>
                <a:gs pos="36000">
                  <a:srgbClr val="09192F"/>
                </a:gs>
                <a:gs pos="100000">
                  <a:srgbClr val="125680"/>
                </a:gs>
                <a:gs pos="0">
                  <a:srgbClr val="070C1E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5" name="Picture 4" descr="Graphical user interface, application, website&#10;&#10;Description automatically generated">
            <a:extLst>
              <a:ext uri="{FF2B5EF4-FFF2-40B4-BE49-F238E27FC236}">
                <a16:creationId xmlns:a16="http://schemas.microsoft.com/office/drawing/2014/main" id="{6DD70DF5-3E2F-4AA0-AA0A-C9DB3EC2EB5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656"/>
          <a:stretch/>
        </p:blipFill>
        <p:spPr>
          <a:xfrm>
            <a:off x="1898197" y="1350647"/>
            <a:ext cx="2646783" cy="4592531"/>
          </a:xfrm>
          <a:prstGeom prst="rect">
            <a:avLst/>
          </a:prstGeom>
        </p:spPr>
      </p:pic>
      <p:grpSp>
        <p:nvGrpSpPr>
          <p:cNvPr id="92" name="Group 91">
            <a:extLst>
              <a:ext uri="{FF2B5EF4-FFF2-40B4-BE49-F238E27FC236}">
                <a16:creationId xmlns:a16="http://schemas.microsoft.com/office/drawing/2014/main" id="{9B7CBECA-F637-4596-9C37-10E5AA4381A0}"/>
              </a:ext>
            </a:extLst>
          </p:cNvPr>
          <p:cNvGrpSpPr/>
          <p:nvPr/>
        </p:nvGrpSpPr>
        <p:grpSpPr>
          <a:xfrm>
            <a:off x="5973600" y="894793"/>
            <a:ext cx="6788255" cy="4519971"/>
            <a:chOff x="2304063" y="1248229"/>
            <a:chExt cx="7393151" cy="4922742"/>
          </a:xfrm>
        </p:grpSpPr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5F3C279B-D676-4282-83BF-6E09B69570DF}"/>
                </a:ext>
              </a:extLst>
            </p:cNvPr>
            <p:cNvSpPr/>
            <p:nvPr/>
          </p:nvSpPr>
          <p:spPr>
            <a:xfrm>
              <a:off x="2304063" y="5155278"/>
              <a:ext cx="3020539" cy="1015693"/>
            </a:xfrm>
            <a:prstGeom prst="ellipse">
              <a:avLst/>
            </a:prstGeom>
            <a:gradFill flip="none" rotWithShape="1">
              <a:gsLst>
                <a:gs pos="0">
                  <a:srgbClr val="070C1E">
                    <a:alpha val="82000"/>
                  </a:srgbClr>
                </a:gs>
                <a:gs pos="100000">
                  <a:srgbClr val="070C1E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98" name="Group 33">
              <a:extLst>
                <a:ext uri="{FF2B5EF4-FFF2-40B4-BE49-F238E27FC236}">
                  <a16:creationId xmlns:a16="http://schemas.microsoft.com/office/drawing/2014/main" id="{7F0940B5-F870-48CA-BFB4-3595892E1F6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494788" y="1248229"/>
              <a:ext cx="7202426" cy="4735738"/>
              <a:chOff x="961" y="266"/>
              <a:chExt cx="5758" cy="3786"/>
            </a:xfrm>
          </p:grpSpPr>
          <p:sp>
            <p:nvSpPr>
              <p:cNvPr id="99" name="Freeform 34">
                <a:extLst>
                  <a:ext uri="{FF2B5EF4-FFF2-40B4-BE49-F238E27FC236}">
                    <a16:creationId xmlns:a16="http://schemas.microsoft.com/office/drawing/2014/main" id="{415AE80B-F029-4490-9165-292A4AF8FD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8" y="266"/>
                <a:ext cx="397" cy="310"/>
              </a:xfrm>
              <a:custGeom>
                <a:avLst/>
                <a:gdLst>
                  <a:gd name="T0" fmla="*/ 397 w 397"/>
                  <a:gd name="T1" fmla="*/ 154 h 310"/>
                  <a:gd name="T2" fmla="*/ 0 w 397"/>
                  <a:gd name="T3" fmla="*/ 0 h 310"/>
                  <a:gd name="T4" fmla="*/ 0 w 397"/>
                  <a:gd name="T5" fmla="*/ 154 h 310"/>
                  <a:gd name="T6" fmla="*/ 397 w 397"/>
                  <a:gd name="T7" fmla="*/ 310 h 310"/>
                  <a:gd name="T8" fmla="*/ 397 w 397"/>
                  <a:gd name="T9" fmla="*/ 154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7" h="310">
                    <a:moveTo>
                      <a:pt x="397" y="154"/>
                    </a:moveTo>
                    <a:lnTo>
                      <a:pt x="0" y="0"/>
                    </a:lnTo>
                    <a:lnTo>
                      <a:pt x="0" y="154"/>
                    </a:lnTo>
                    <a:lnTo>
                      <a:pt x="397" y="310"/>
                    </a:lnTo>
                    <a:lnTo>
                      <a:pt x="397" y="154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B0F7F4"/>
                  </a:gs>
                  <a:gs pos="0">
                    <a:srgbClr val="125680"/>
                  </a:gs>
                </a:gsLst>
                <a:lin ang="8100000" scaled="1"/>
                <a:tileRect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35">
                <a:extLst>
                  <a:ext uri="{FF2B5EF4-FFF2-40B4-BE49-F238E27FC236}">
                    <a16:creationId xmlns:a16="http://schemas.microsoft.com/office/drawing/2014/main" id="{D6210CFE-782D-4BAA-9B54-04E79631FC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1" y="3058"/>
                <a:ext cx="2145" cy="840"/>
              </a:xfrm>
              <a:custGeom>
                <a:avLst/>
                <a:gdLst>
                  <a:gd name="T0" fmla="*/ 1071 w 2145"/>
                  <a:gd name="T1" fmla="*/ 0 h 840"/>
                  <a:gd name="T2" fmla="*/ 0 w 2145"/>
                  <a:gd name="T3" fmla="*/ 419 h 840"/>
                  <a:gd name="T4" fmla="*/ 1071 w 2145"/>
                  <a:gd name="T5" fmla="*/ 840 h 840"/>
                  <a:gd name="T6" fmla="*/ 2145 w 2145"/>
                  <a:gd name="T7" fmla="*/ 419 h 840"/>
                  <a:gd name="T8" fmla="*/ 1071 w 2145"/>
                  <a:gd name="T9" fmla="*/ 0 h 8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5" h="840">
                    <a:moveTo>
                      <a:pt x="1071" y="0"/>
                    </a:moveTo>
                    <a:lnTo>
                      <a:pt x="0" y="419"/>
                    </a:lnTo>
                    <a:lnTo>
                      <a:pt x="1071" y="840"/>
                    </a:lnTo>
                    <a:lnTo>
                      <a:pt x="2145" y="419"/>
                    </a:lnTo>
                    <a:lnTo>
                      <a:pt x="1071" y="0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F6443B"/>
                  </a:gs>
                  <a:gs pos="0">
                    <a:srgbClr val="F9857F"/>
                  </a:gs>
                </a:gsLst>
                <a:lin ang="108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36">
                <a:extLst>
                  <a:ext uri="{FF2B5EF4-FFF2-40B4-BE49-F238E27FC236}">
                    <a16:creationId xmlns:a16="http://schemas.microsoft.com/office/drawing/2014/main" id="{D1CF9CE2-D2E8-4D87-A14F-3749AFAD8D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1" y="3477"/>
                <a:ext cx="1071" cy="575"/>
              </a:xfrm>
              <a:custGeom>
                <a:avLst/>
                <a:gdLst>
                  <a:gd name="T0" fmla="*/ 1071 w 1071"/>
                  <a:gd name="T1" fmla="*/ 575 h 575"/>
                  <a:gd name="T2" fmla="*/ 0 w 1071"/>
                  <a:gd name="T3" fmla="*/ 156 h 575"/>
                  <a:gd name="T4" fmla="*/ 0 w 1071"/>
                  <a:gd name="T5" fmla="*/ 0 h 575"/>
                  <a:gd name="T6" fmla="*/ 1071 w 1071"/>
                  <a:gd name="T7" fmla="*/ 421 h 575"/>
                  <a:gd name="T8" fmla="*/ 1071 w 1071"/>
                  <a:gd name="T9" fmla="*/ 575 h 5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1" h="575">
                    <a:moveTo>
                      <a:pt x="1071" y="575"/>
                    </a:moveTo>
                    <a:lnTo>
                      <a:pt x="0" y="156"/>
                    </a:lnTo>
                    <a:lnTo>
                      <a:pt x="0" y="0"/>
                    </a:lnTo>
                    <a:lnTo>
                      <a:pt x="1071" y="421"/>
                    </a:lnTo>
                    <a:lnTo>
                      <a:pt x="1071" y="575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682832"/>
                  </a:gs>
                  <a:gs pos="100000">
                    <a:srgbClr val="F6443B"/>
                  </a:gs>
                </a:gsLst>
                <a:lin ang="81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37">
                <a:extLst>
                  <a:ext uri="{FF2B5EF4-FFF2-40B4-BE49-F238E27FC236}">
                    <a16:creationId xmlns:a16="http://schemas.microsoft.com/office/drawing/2014/main" id="{F0332C83-5258-4673-A370-48220638EA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2" y="2178"/>
                <a:ext cx="2145" cy="837"/>
              </a:xfrm>
              <a:custGeom>
                <a:avLst/>
                <a:gdLst>
                  <a:gd name="T0" fmla="*/ 1074 w 2145"/>
                  <a:gd name="T1" fmla="*/ 0 h 837"/>
                  <a:gd name="T2" fmla="*/ 0 w 2145"/>
                  <a:gd name="T3" fmla="*/ 419 h 837"/>
                  <a:gd name="T4" fmla="*/ 1074 w 2145"/>
                  <a:gd name="T5" fmla="*/ 837 h 837"/>
                  <a:gd name="T6" fmla="*/ 2145 w 2145"/>
                  <a:gd name="T7" fmla="*/ 419 h 837"/>
                  <a:gd name="T8" fmla="*/ 1074 w 2145"/>
                  <a:gd name="T9" fmla="*/ 0 h 8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5" h="837">
                    <a:moveTo>
                      <a:pt x="1074" y="0"/>
                    </a:moveTo>
                    <a:lnTo>
                      <a:pt x="0" y="419"/>
                    </a:lnTo>
                    <a:lnTo>
                      <a:pt x="1074" y="837"/>
                    </a:lnTo>
                    <a:lnTo>
                      <a:pt x="2145" y="419"/>
                    </a:lnTo>
                    <a:lnTo>
                      <a:pt x="1074" y="0"/>
                    </a:lnTo>
                    <a:close/>
                  </a:path>
                </a:pathLst>
              </a:custGeom>
              <a:gradFill flip="none" rotWithShape="1">
                <a:gsLst>
                  <a:gs pos="22000">
                    <a:srgbClr val="E1FCFB"/>
                  </a:gs>
                  <a:gs pos="100000">
                    <a:srgbClr val="B0F7F4"/>
                  </a:gs>
                  <a:gs pos="0">
                    <a:schemeClr val="bg1"/>
                  </a:gs>
                </a:gsLst>
                <a:lin ang="81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38">
                <a:extLst>
                  <a:ext uri="{FF2B5EF4-FFF2-40B4-BE49-F238E27FC236}">
                    <a16:creationId xmlns:a16="http://schemas.microsoft.com/office/drawing/2014/main" id="{C6F4EC15-3C6C-44DF-A11E-3177205A11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2" y="2597"/>
                <a:ext cx="1074" cy="575"/>
              </a:xfrm>
              <a:custGeom>
                <a:avLst/>
                <a:gdLst>
                  <a:gd name="T0" fmla="*/ 1074 w 1074"/>
                  <a:gd name="T1" fmla="*/ 575 h 575"/>
                  <a:gd name="T2" fmla="*/ 0 w 1074"/>
                  <a:gd name="T3" fmla="*/ 156 h 575"/>
                  <a:gd name="T4" fmla="*/ 0 w 1074"/>
                  <a:gd name="T5" fmla="*/ 0 h 575"/>
                  <a:gd name="T6" fmla="*/ 1074 w 1074"/>
                  <a:gd name="T7" fmla="*/ 418 h 575"/>
                  <a:gd name="T8" fmla="*/ 1074 w 1074"/>
                  <a:gd name="T9" fmla="*/ 575 h 5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4" h="575">
                    <a:moveTo>
                      <a:pt x="1074" y="575"/>
                    </a:moveTo>
                    <a:lnTo>
                      <a:pt x="0" y="156"/>
                    </a:lnTo>
                    <a:lnTo>
                      <a:pt x="0" y="0"/>
                    </a:lnTo>
                    <a:lnTo>
                      <a:pt x="1074" y="418"/>
                    </a:lnTo>
                    <a:lnTo>
                      <a:pt x="1074" y="575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125680"/>
                  </a:gs>
                  <a:gs pos="0">
                    <a:srgbClr val="B0F7F4"/>
                  </a:gs>
                </a:gsLst>
                <a:lin ang="8100000" scaled="1"/>
                <a:tileRect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9">
                <a:extLst>
                  <a:ext uri="{FF2B5EF4-FFF2-40B4-BE49-F238E27FC236}">
                    <a16:creationId xmlns:a16="http://schemas.microsoft.com/office/drawing/2014/main" id="{8A441300-19A9-4FFE-AC7B-26A6E1DAA2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2" y="3117"/>
                <a:ext cx="1213" cy="935"/>
              </a:xfrm>
              <a:custGeom>
                <a:avLst/>
                <a:gdLst>
                  <a:gd name="T0" fmla="*/ 1074 w 1213"/>
                  <a:gd name="T1" fmla="*/ 55 h 935"/>
                  <a:gd name="T2" fmla="*/ 1074 w 1213"/>
                  <a:gd name="T3" fmla="*/ 360 h 935"/>
                  <a:gd name="T4" fmla="*/ 0 w 1213"/>
                  <a:gd name="T5" fmla="*/ 781 h 935"/>
                  <a:gd name="T6" fmla="*/ 0 w 1213"/>
                  <a:gd name="T7" fmla="*/ 935 h 935"/>
                  <a:gd name="T8" fmla="*/ 1074 w 1213"/>
                  <a:gd name="T9" fmla="*/ 516 h 935"/>
                  <a:gd name="T10" fmla="*/ 1213 w 1213"/>
                  <a:gd name="T11" fmla="*/ 462 h 935"/>
                  <a:gd name="T12" fmla="*/ 1213 w 1213"/>
                  <a:gd name="T13" fmla="*/ 0 h 935"/>
                  <a:gd name="T14" fmla="*/ 1074 w 1213"/>
                  <a:gd name="T15" fmla="*/ 55 h 9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13" h="935">
                    <a:moveTo>
                      <a:pt x="1074" y="55"/>
                    </a:moveTo>
                    <a:lnTo>
                      <a:pt x="1074" y="360"/>
                    </a:lnTo>
                    <a:lnTo>
                      <a:pt x="0" y="781"/>
                    </a:lnTo>
                    <a:lnTo>
                      <a:pt x="0" y="935"/>
                    </a:lnTo>
                    <a:lnTo>
                      <a:pt x="1074" y="516"/>
                    </a:lnTo>
                    <a:lnTo>
                      <a:pt x="1213" y="462"/>
                    </a:lnTo>
                    <a:lnTo>
                      <a:pt x="1213" y="0"/>
                    </a:lnTo>
                    <a:lnTo>
                      <a:pt x="1074" y="55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602631"/>
                  </a:gs>
                  <a:gs pos="100000">
                    <a:srgbClr val="F6443B"/>
                  </a:gs>
                </a:gsLst>
                <a:lin ang="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40">
                <a:extLst>
                  <a:ext uri="{FF2B5EF4-FFF2-40B4-BE49-F238E27FC236}">
                    <a16:creationId xmlns:a16="http://schemas.microsoft.com/office/drawing/2014/main" id="{794D4AE6-4307-4887-90C3-B12FF2A7EA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2" y="2753"/>
                <a:ext cx="1074" cy="724"/>
              </a:xfrm>
              <a:custGeom>
                <a:avLst/>
                <a:gdLst>
                  <a:gd name="T0" fmla="*/ 0 w 1074"/>
                  <a:gd name="T1" fmla="*/ 0 h 724"/>
                  <a:gd name="T2" fmla="*/ 0 w 1074"/>
                  <a:gd name="T3" fmla="*/ 305 h 724"/>
                  <a:gd name="T4" fmla="*/ 1074 w 1074"/>
                  <a:gd name="T5" fmla="*/ 724 h 724"/>
                  <a:gd name="T6" fmla="*/ 1074 w 1074"/>
                  <a:gd name="T7" fmla="*/ 419 h 724"/>
                  <a:gd name="T8" fmla="*/ 0 w 1074"/>
                  <a:gd name="T9" fmla="*/ 0 h 7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4" h="724">
                    <a:moveTo>
                      <a:pt x="0" y="0"/>
                    </a:moveTo>
                    <a:lnTo>
                      <a:pt x="0" y="305"/>
                    </a:lnTo>
                    <a:lnTo>
                      <a:pt x="1074" y="724"/>
                    </a:lnTo>
                    <a:lnTo>
                      <a:pt x="1074" y="419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125680"/>
                  </a:gs>
                  <a:gs pos="0">
                    <a:srgbClr val="B0F7F4"/>
                  </a:gs>
                </a:gsLst>
                <a:lin ang="8100000" scaled="1"/>
                <a:tileRect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41">
                <a:extLst>
                  <a:ext uri="{FF2B5EF4-FFF2-40B4-BE49-F238E27FC236}">
                    <a16:creationId xmlns:a16="http://schemas.microsoft.com/office/drawing/2014/main" id="{53E79768-50D2-4136-A909-39D94F37FB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6" y="1295"/>
                <a:ext cx="2142" cy="840"/>
              </a:xfrm>
              <a:custGeom>
                <a:avLst/>
                <a:gdLst>
                  <a:gd name="T0" fmla="*/ 1071 w 2142"/>
                  <a:gd name="T1" fmla="*/ 0 h 840"/>
                  <a:gd name="T2" fmla="*/ 0 w 2142"/>
                  <a:gd name="T3" fmla="*/ 421 h 840"/>
                  <a:gd name="T4" fmla="*/ 1071 w 2142"/>
                  <a:gd name="T5" fmla="*/ 840 h 840"/>
                  <a:gd name="T6" fmla="*/ 2142 w 2142"/>
                  <a:gd name="T7" fmla="*/ 421 h 840"/>
                  <a:gd name="T8" fmla="*/ 1071 w 2142"/>
                  <a:gd name="T9" fmla="*/ 0 h 8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2" h="840">
                    <a:moveTo>
                      <a:pt x="1071" y="0"/>
                    </a:moveTo>
                    <a:lnTo>
                      <a:pt x="0" y="421"/>
                    </a:lnTo>
                    <a:lnTo>
                      <a:pt x="1071" y="840"/>
                    </a:lnTo>
                    <a:lnTo>
                      <a:pt x="2142" y="421"/>
                    </a:lnTo>
                    <a:lnTo>
                      <a:pt x="1071" y="0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F6443B"/>
                  </a:gs>
                  <a:gs pos="0">
                    <a:srgbClr val="F9857F"/>
                  </a:gs>
                </a:gsLst>
                <a:lin ang="108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42">
                <a:extLst>
                  <a:ext uri="{FF2B5EF4-FFF2-40B4-BE49-F238E27FC236}">
                    <a16:creationId xmlns:a16="http://schemas.microsoft.com/office/drawing/2014/main" id="{E3933DC3-6D59-4531-BEFA-3A24E87919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6" y="1716"/>
                <a:ext cx="1071" cy="575"/>
              </a:xfrm>
              <a:custGeom>
                <a:avLst/>
                <a:gdLst>
                  <a:gd name="T0" fmla="*/ 1071 w 1071"/>
                  <a:gd name="T1" fmla="*/ 575 h 575"/>
                  <a:gd name="T2" fmla="*/ 0 w 1071"/>
                  <a:gd name="T3" fmla="*/ 154 h 575"/>
                  <a:gd name="T4" fmla="*/ 0 w 1071"/>
                  <a:gd name="T5" fmla="*/ 0 h 575"/>
                  <a:gd name="T6" fmla="*/ 1071 w 1071"/>
                  <a:gd name="T7" fmla="*/ 419 h 575"/>
                  <a:gd name="T8" fmla="*/ 1071 w 1071"/>
                  <a:gd name="T9" fmla="*/ 575 h 5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1" h="575">
                    <a:moveTo>
                      <a:pt x="1071" y="575"/>
                    </a:moveTo>
                    <a:lnTo>
                      <a:pt x="0" y="154"/>
                    </a:lnTo>
                    <a:lnTo>
                      <a:pt x="0" y="0"/>
                    </a:lnTo>
                    <a:lnTo>
                      <a:pt x="1071" y="419"/>
                    </a:lnTo>
                    <a:lnTo>
                      <a:pt x="1071" y="575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682832"/>
                  </a:gs>
                  <a:gs pos="100000">
                    <a:srgbClr val="F6443B"/>
                  </a:gs>
                </a:gsLst>
                <a:lin ang="81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43">
                <a:extLst>
                  <a:ext uri="{FF2B5EF4-FFF2-40B4-BE49-F238E27FC236}">
                    <a16:creationId xmlns:a16="http://schemas.microsoft.com/office/drawing/2014/main" id="{BC7604C9-0924-4FB4-9171-8B15E4B977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6" y="2235"/>
                <a:ext cx="1211" cy="937"/>
              </a:xfrm>
              <a:custGeom>
                <a:avLst/>
                <a:gdLst>
                  <a:gd name="T0" fmla="*/ 1071 w 1211"/>
                  <a:gd name="T1" fmla="*/ 56 h 937"/>
                  <a:gd name="T2" fmla="*/ 1071 w 1211"/>
                  <a:gd name="T3" fmla="*/ 362 h 937"/>
                  <a:gd name="T4" fmla="*/ 0 w 1211"/>
                  <a:gd name="T5" fmla="*/ 780 h 937"/>
                  <a:gd name="T6" fmla="*/ 0 w 1211"/>
                  <a:gd name="T7" fmla="*/ 937 h 937"/>
                  <a:gd name="T8" fmla="*/ 1071 w 1211"/>
                  <a:gd name="T9" fmla="*/ 518 h 937"/>
                  <a:gd name="T10" fmla="*/ 1211 w 1211"/>
                  <a:gd name="T11" fmla="*/ 461 h 937"/>
                  <a:gd name="T12" fmla="*/ 1211 w 1211"/>
                  <a:gd name="T13" fmla="*/ 0 h 937"/>
                  <a:gd name="T14" fmla="*/ 1071 w 1211"/>
                  <a:gd name="T15" fmla="*/ 56 h 9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11" h="937">
                    <a:moveTo>
                      <a:pt x="1071" y="56"/>
                    </a:moveTo>
                    <a:lnTo>
                      <a:pt x="1071" y="362"/>
                    </a:lnTo>
                    <a:lnTo>
                      <a:pt x="0" y="780"/>
                    </a:lnTo>
                    <a:lnTo>
                      <a:pt x="0" y="937"/>
                    </a:lnTo>
                    <a:lnTo>
                      <a:pt x="1071" y="518"/>
                    </a:lnTo>
                    <a:lnTo>
                      <a:pt x="1211" y="461"/>
                    </a:lnTo>
                    <a:lnTo>
                      <a:pt x="1211" y="0"/>
                    </a:lnTo>
                    <a:lnTo>
                      <a:pt x="1071" y="56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B0F7F4"/>
                  </a:gs>
                  <a:gs pos="0">
                    <a:srgbClr val="125680"/>
                  </a:gs>
                </a:gsLst>
                <a:lin ang="16200000" scaled="1"/>
                <a:tileRect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44">
                <a:extLst>
                  <a:ext uri="{FF2B5EF4-FFF2-40B4-BE49-F238E27FC236}">
                    <a16:creationId xmlns:a16="http://schemas.microsoft.com/office/drawing/2014/main" id="{216D053A-D719-45E6-BC0F-56A0A53FD2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6" y="1870"/>
                <a:ext cx="1071" cy="727"/>
              </a:xfrm>
              <a:custGeom>
                <a:avLst/>
                <a:gdLst>
                  <a:gd name="T0" fmla="*/ 0 w 1071"/>
                  <a:gd name="T1" fmla="*/ 0 h 727"/>
                  <a:gd name="T2" fmla="*/ 0 w 1071"/>
                  <a:gd name="T3" fmla="*/ 308 h 727"/>
                  <a:gd name="T4" fmla="*/ 1071 w 1071"/>
                  <a:gd name="T5" fmla="*/ 727 h 727"/>
                  <a:gd name="T6" fmla="*/ 1071 w 1071"/>
                  <a:gd name="T7" fmla="*/ 421 h 727"/>
                  <a:gd name="T8" fmla="*/ 0 w 1071"/>
                  <a:gd name="T9" fmla="*/ 0 h 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1" h="727">
                    <a:moveTo>
                      <a:pt x="0" y="0"/>
                    </a:moveTo>
                    <a:lnTo>
                      <a:pt x="0" y="308"/>
                    </a:lnTo>
                    <a:lnTo>
                      <a:pt x="1071" y="727"/>
                    </a:lnTo>
                    <a:lnTo>
                      <a:pt x="1071" y="421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4E2230"/>
                  </a:gs>
                  <a:gs pos="100000">
                    <a:srgbClr val="F6443B"/>
                  </a:gs>
                </a:gsLst>
                <a:lin ang="27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45">
                <a:extLst>
                  <a:ext uri="{FF2B5EF4-FFF2-40B4-BE49-F238E27FC236}">
                    <a16:creationId xmlns:a16="http://schemas.microsoft.com/office/drawing/2014/main" id="{ADEABA14-0ED1-4F29-A9FC-711953E386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7" y="834"/>
                <a:ext cx="1071" cy="575"/>
              </a:xfrm>
              <a:custGeom>
                <a:avLst/>
                <a:gdLst>
                  <a:gd name="T0" fmla="*/ 1071 w 1071"/>
                  <a:gd name="T1" fmla="*/ 575 h 575"/>
                  <a:gd name="T2" fmla="*/ 0 w 1071"/>
                  <a:gd name="T3" fmla="*/ 156 h 575"/>
                  <a:gd name="T4" fmla="*/ 0 w 1071"/>
                  <a:gd name="T5" fmla="*/ 0 h 575"/>
                  <a:gd name="T6" fmla="*/ 1071 w 1071"/>
                  <a:gd name="T7" fmla="*/ 421 h 575"/>
                  <a:gd name="T8" fmla="*/ 1071 w 1071"/>
                  <a:gd name="T9" fmla="*/ 575 h 5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1" h="575">
                    <a:moveTo>
                      <a:pt x="1071" y="575"/>
                    </a:moveTo>
                    <a:lnTo>
                      <a:pt x="0" y="156"/>
                    </a:lnTo>
                    <a:lnTo>
                      <a:pt x="0" y="0"/>
                    </a:lnTo>
                    <a:lnTo>
                      <a:pt x="1071" y="421"/>
                    </a:lnTo>
                    <a:lnTo>
                      <a:pt x="1071" y="575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125680"/>
                  </a:gs>
                  <a:gs pos="0">
                    <a:srgbClr val="B0F7F4"/>
                  </a:gs>
                </a:gsLst>
                <a:lin ang="8100000" scaled="1"/>
                <a:tileRect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46">
                <a:extLst>
                  <a:ext uri="{FF2B5EF4-FFF2-40B4-BE49-F238E27FC236}">
                    <a16:creationId xmlns:a16="http://schemas.microsoft.com/office/drawing/2014/main" id="{AAF41107-D37D-4791-BB78-1E0C806D99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48" y="834"/>
                <a:ext cx="1074" cy="575"/>
              </a:xfrm>
              <a:custGeom>
                <a:avLst/>
                <a:gdLst>
                  <a:gd name="T0" fmla="*/ 0 w 1074"/>
                  <a:gd name="T1" fmla="*/ 575 h 575"/>
                  <a:gd name="T2" fmla="*/ 1074 w 1074"/>
                  <a:gd name="T3" fmla="*/ 156 h 575"/>
                  <a:gd name="T4" fmla="*/ 1074 w 1074"/>
                  <a:gd name="T5" fmla="*/ 0 h 575"/>
                  <a:gd name="T6" fmla="*/ 0 w 1074"/>
                  <a:gd name="T7" fmla="*/ 421 h 575"/>
                  <a:gd name="T8" fmla="*/ 0 w 1074"/>
                  <a:gd name="T9" fmla="*/ 575 h 5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4" h="575">
                    <a:moveTo>
                      <a:pt x="0" y="575"/>
                    </a:moveTo>
                    <a:lnTo>
                      <a:pt x="1074" y="156"/>
                    </a:lnTo>
                    <a:lnTo>
                      <a:pt x="1074" y="0"/>
                    </a:lnTo>
                    <a:lnTo>
                      <a:pt x="0" y="421"/>
                    </a:lnTo>
                    <a:lnTo>
                      <a:pt x="0" y="575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B0F7F4"/>
                  </a:gs>
                  <a:gs pos="0">
                    <a:srgbClr val="125680"/>
                  </a:gs>
                </a:gsLst>
                <a:lin ang="16200000" scaled="1"/>
                <a:tileRect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47">
                <a:extLst>
                  <a:ext uri="{FF2B5EF4-FFF2-40B4-BE49-F238E27FC236}">
                    <a16:creationId xmlns:a16="http://schemas.microsoft.com/office/drawing/2014/main" id="{32233295-7F75-4D20-87BC-2432F92454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7" y="1354"/>
                <a:ext cx="1213" cy="937"/>
              </a:xfrm>
              <a:custGeom>
                <a:avLst/>
                <a:gdLst>
                  <a:gd name="T0" fmla="*/ 1071 w 1213"/>
                  <a:gd name="T1" fmla="*/ 55 h 937"/>
                  <a:gd name="T2" fmla="*/ 1071 w 1213"/>
                  <a:gd name="T3" fmla="*/ 362 h 937"/>
                  <a:gd name="T4" fmla="*/ 0 w 1213"/>
                  <a:gd name="T5" fmla="*/ 781 h 937"/>
                  <a:gd name="T6" fmla="*/ 0 w 1213"/>
                  <a:gd name="T7" fmla="*/ 937 h 937"/>
                  <a:gd name="T8" fmla="*/ 1071 w 1213"/>
                  <a:gd name="T9" fmla="*/ 516 h 937"/>
                  <a:gd name="T10" fmla="*/ 1213 w 1213"/>
                  <a:gd name="T11" fmla="*/ 462 h 937"/>
                  <a:gd name="T12" fmla="*/ 1213 w 1213"/>
                  <a:gd name="T13" fmla="*/ 0 h 937"/>
                  <a:gd name="T14" fmla="*/ 1071 w 1213"/>
                  <a:gd name="T15" fmla="*/ 55 h 9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13" h="937">
                    <a:moveTo>
                      <a:pt x="1071" y="55"/>
                    </a:moveTo>
                    <a:lnTo>
                      <a:pt x="1071" y="362"/>
                    </a:lnTo>
                    <a:lnTo>
                      <a:pt x="0" y="781"/>
                    </a:lnTo>
                    <a:lnTo>
                      <a:pt x="0" y="937"/>
                    </a:lnTo>
                    <a:lnTo>
                      <a:pt x="1071" y="516"/>
                    </a:lnTo>
                    <a:lnTo>
                      <a:pt x="1213" y="462"/>
                    </a:lnTo>
                    <a:lnTo>
                      <a:pt x="1213" y="0"/>
                    </a:lnTo>
                    <a:lnTo>
                      <a:pt x="1071" y="55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602631"/>
                  </a:gs>
                  <a:gs pos="100000">
                    <a:srgbClr val="F6443B"/>
                  </a:gs>
                </a:gsLst>
                <a:lin ang="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48">
                <a:extLst>
                  <a:ext uri="{FF2B5EF4-FFF2-40B4-BE49-F238E27FC236}">
                    <a16:creationId xmlns:a16="http://schemas.microsoft.com/office/drawing/2014/main" id="{62790505-54C8-44C9-BC80-C2633093A3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7" y="990"/>
                <a:ext cx="1071" cy="726"/>
              </a:xfrm>
              <a:custGeom>
                <a:avLst/>
                <a:gdLst>
                  <a:gd name="T0" fmla="*/ 0 w 1071"/>
                  <a:gd name="T1" fmla="*/ 0 h 726"/>
                  <a:gd name="T2" fmla="*/ 0 w 1071"/>
                  <a:gd name="T3" fmla="*/ 305 h 726"/>
                  <a:gd name="T4" fmla="*/ 1071 w 1071"/>
                  <a:gd name="T5" fmla="*/ 726 h 726"/>
                  <a:gd name="T6" fmla="*/ 1071 w 1071"/>
                  <a:gd name="T7" fmla="*/ 419 h 726"/>
                  <a:gd name="T8" fmla="*/ 0 w 1071"/>
                  <a:gd name="T9" fmla="*/ 0 h 7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1" h="726">
                    <a:moveTo>
                      <a:pt x="0" y="0"/>
                    </a:moveTo>
                    <a:lnTo>
                      <a:pt x="0" y="305"/>
                    </a:lnTo>
                    <a:lnTo>
                      <a:pt x="1071" y="726"/>
                    </a:lnTo>
                    <a:lnTo>
                      <a:pt x="1071" y="419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125680"/>
                  </a:gs>
                  <a:gs pos="0">
                    <a:srgbClr val="B0F7F4"/>
                  </a:gs>
                </a:gsLst>
                <a:lin ang="8100000" scaled="1"/>
                <a:tileRect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49">
                <a:extLst>
                  <a:ext uri="{FF2B5EF4-FFF2-40B4-BE49-F238E27FC236}">
                    <a16:creationId xmlns:a16="http://schemas.microsoft.com/office/drawing/2014/main" id="{BDD4C5BD-738E-4B9D-9DE0-DD6030488A3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09" y="3373"/>
                <a:ext cx="612" cy="284"/>
              </a:xfrm>
              <a:custGeom>
                <a:avLst/>
                <a:gdLst>
                  <a:gd name="T0" fmla="*/ 237 w 259"/>
                  <a:gd name="T1" fmla="*/ 105 h 120"/>
                  <a:gd name="T2" fmla="*/ 78 w 259"/>
                  <a:gd name="T3" fmla="*/ 84 h 120"/>
                  <a:gd name="T4" fmla="*/ 9 w 259"/>
                  <a:gd name="T5" fmla="*/ 43 h 120"/>
                  <a:gd name="T6" fmla="*/ 22 w 259"/>
                  <a:gd name="T7" fmla="*/ 14 h 120"/>
                  <a:gd name="T8" fmla="*/ 182 w 259"/>
                  <a:gd name="T9" fmla="*/ 37 h 120"/>
                  <a:gd name="T10" fmla="*/ 249 w 259"/>
                  <a:gd name="T11" fmla="*/ 77 h 120"/>
                  <a:gd name="T12" fmla="*/ 237 w 259"/>
                  <a:gd name="T13" fmla="*/ 105 h 120"/>
                  <a:gd name="T14" fmla="*/ 56 w 259"/>
                  <a:gd name="T15" fmla="*/ 29 h 120"/>
                  <a:gd name="T16" fmla="*/ 111 w 259"/>
                  <a:gd name="T17" fmla="*/ 69 h 120"/>
                  <a:gd name="T18" fmla="*/ 203 w 259"/>
                  <a:gd name="T19" fmla="*/ 90 h 120"/>
                  <a:gd name="T20" fmla="*/ 150 w 259"/>
                  <a:gd name="T21" fmla="*/ 51 h 120"/>
                  <a:gd name="T22" fmla="*/ 56 w 259"/>
                  <a:gd name="T23" fmla="*/ 29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9" h="120">
                    <a:moveTo>
                      <a:pt x="237" y="105"/>
                    </a:moveTo>
                    <a:cubicBezTo>
                      <a:pt x="202" y="120"/>
                      <a:pt x="149" y="113"/>
                      <a:pt x="78" y="84"/>
                    </a:cubicBezTo>
                    <a:cubicBezTo>
                      <a:pt x="42" y="68"/>
                      <a:pt x="19" y="55"/>
                      <a:pt x="9" y="43"/>
                    </a:cubicBezTo>
                    <a:cubicBezTo>
                      <a:pt x="0" y="31"/>
                      <a:pt x="4" y="21"/>
                      <a:pt x="22" y="14"/>
                    </a:cubicBezTo>
                    <a:cubicBezTo>
                      <a:pt x="57" y="0"/>
                      <a:pt x="110" y="7"/>
                      <a:pt x="182" y="37"/>
                    </a:cubicBezTo>
                    <a:cubicBezTo>
                      <a:pt x="217" y="52"/>
                      <a:pt x="240" y="65"/>
                      <a:pt x="249" y="77"/>
                    </a:cubicBezTo>
                    <a:cubicBezTo>
                      <a:pt x="259" y="89"/>
                      <a:pt x="255" y="98"/>
                      <a:pt x="237" y="105"/>
                    </a:cubicBezTo>
                    <a:close/>
                    <a:moveTo>
                      <a:pt x="56" y="29"/>
                    </a:moveTo>
                    <a:cubicBezTo>
                      <a:pt x="42" y="35"/>
                      <a:pt x="60" y="48"/>
                      <a:pt x="111" y="69"/>
                    </a:cubicBezTo>
                    <a:cubicBezTo>
                      <a:pt x="158" y="89"/>
                      <a:pt x="189" y="96"/>
                      <a:pt x="203" y="90"/>
                    </a:cubicBezTo>
                    <a:cubicBezTo>
                      <a:pt x="216" y="85"/>
                      <a:pt x="199" y="72"/>
                      <a:pt x="150" y="51"/>
                    </a:cubicBezTo>
                    <a:cubicBezTo>
                      <a:pt x="101" y="31"/>
                      <a:pt x="70" y="24"/>
                      <a:pt x="56" y="2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50">
                <a:extLst>
                  <a:ext uri="{FF2B5EF4-FFF2-40B4-BE49-F238E27FC236}">
                    <a16:creationId xmlns:a16="http://schemas.microsoft.com/office/drawing/2014/main" id="{CC3010F2-B411-461A-981F-20CA32B541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5" y="3262"/>
                <a:ext cx="587" cy="243"/>
              </a:xfrm>
              <a:custGeom>
                <a:avLst/>
                <a:gdLst>
                  <a:gd name="T0" fmla="*/ 33 w 248"/>
                  <a:gd name="T1" fmla="*/ 0 h 103"/>
                  <a:gd name="T2" fmla="*/ 248 w 248"/>
                  <a:gd name="T3" fmla="*/ 90 h 103"/>
                  <a:gd name="T4" fmla="*/ 215 w 248"/>
                  <a:gd name="T5" fmla="*/ 103 h 103"/>
                  <a:gd name="T6" fmla="*/ 52 w 248"/>
                  <a:gd name="T7" fmla="*/ 35 h 103"/>
                  <a:gd name="T8" fmla="*/ 52 w 248"/>
                  <a:gd name="T9" fmla="*/ 41 h 103"/>
                  <a:gd name="T10" fmla="*/ 50 w 248"/>
                  <a:gd name="T11" fmla="*/ 46 h 103"/>
                  <a:gd name="T12" fmla="*/ 45 w 248"/>
                  <a:gd name="T13" fmla="*/ 51 h 103"/>
                  <a:gd name="T14" fmla="*/ 39 w 248"/>
                  <a:gd name="T15" fmla="*/ 56 h 103"/>
                  <a:gd name="T16" fmla="*/ 0 w 248"/>
                  <a:gd name="T17" fmla="*/ 40 h 103"/>
                  <a:gd name="T18" fmla="*/ 10 w 248"/>
                  <a:gd name="T19" fmla="*/ 24 h 103"/>
                  <a:gd name="T20" fmla="*/ 13 w 248"/>
                  <a:gd name="T21" fmla="*/ 8 h 103"/>
                  <a:gd name="T22" fmla="*/ 33 w 248"/>
                  <a:gd name="T23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48" h="103">
                    <a:moveTo>
                      <a:pt x="33" y="0"/>
                    </a:moveTo>
                    <a:cubicBezTo>
                      <a:pt x="248" y="90"/>
                      <a:pt x="248" y="90"/>
                      <a:pt x="248" y="90"/>
                    </a:cubicBezTo>
                    <a:cubicBezTo>
                      <a:pt x="215" y="103"/>
                      <a:pt x="215" y="103"/>
                      <a:pt x="215" y="103"/>
                    </a:cubicBezTo>
                    <a:cubicBezTo>
                      <a:pt x="52" y="35"/>
                      <a:pt x="52" y="35"/>
                      <a:pt x="52" y="35"/>
                    </a:cubicBezTo>
                    <a:cubicBezTo>
                      <a:pt x="53" y="37"/>
                      <a:pt x="53" y="39"/>
                      <a:pt x="52" y="41"/>
                    </a:cubicBezTo>
                    <a:cubicBezTo>
                      <a:pt x="52" y="43"/>
                      <a:pt x="51" y="44"/>
                      <a:pt x="50" y="46"/>
                    </a:cubicBezTo>
                    <a:cubicBezTo>
                      <a:pt x="49" y="48"/>
                      <a:pt x="47" y="50"/>
                      <a:pt x="45" y="51"/>
                    </a:cubicBezTo>
                    <a:cubicBezTo>
                      <a:pt x="43" y="53"/>
                      <a:pt x="41" y="55"/>
                      <a:pt x="39" y="56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5" y="35"/>
                      <a:pt x="8" y="30"/>
                      <a:pt x="10" y="24"/>
                    </a:cubicBezTo>
                    <a:cubicBezTo>
                      <a:pt x="13" y="19"/>
                      <a:pt x="13" y="14"/>
                      <a:pt x="13" y="8"/>
                    </a:cubicBezTo>
                    <a:lnTo>
                      <a:pt x="33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51">
                <a:extLst>
                  <a:ext uri="{FF2B5EF4-FFF2-40B4-BE49-F238E27FC236}">
                    <a16:creationId xmlns:a16="http://schemas.microsoft.com/office/drawing/2014/main" id="{41491E85-226A-41F4-BCDD-31D597EDF5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30" y="2507"/>
                <a:ext cx="613" cy="284"/>
              </a:xfrm>
              <a:custGeom>
                <a:avLst/>
                <a:gdLst>
                  <a:gd name="T0" fmla="*/ 237 w 259"/>
                  <a:gd name="T1" fmla="*/ 105 h 120"/>
                  <a:gd name="T2" fmla="*/ 78 w 259"/>
                  <a:gd name="T3" fmla="*/ 84 h 120"/>
                  <a:gd name="T4" fmla="*/ 9 w 259"/>
                  <a:gd name="T5" fmla="*/ 43 h 120"/>
                  <a:gd name="T6" fmla="*/ 22 w 259"/>
                  <a:gd name="T7" fmla="*/ 14 h 120"/>
                  <a:gd name="T8" fmla="*/ 182 w 259"/>
                  <a:gd name="T9" fmla="*/ 37 h 120"/>
                  <a:gd name="T10" fmla="*/ 249 w 259"/>
                  <a:gd name="T11" fmla="*/ 77 h 120"/>
                  <a:gd name="T12" fmla="*/ 237 w 259"/>
                  <a:gd name="T13" fmla="*/ 105 h 120"/>
                  <a:gd name="T14" fmla="*/ 56 w 259"/>
                  <a:gd name="T15" fmla="*/ 29 h 120"/>
                  <a:gd name="T16" fmla="*/ 111 w 259"/>
                  <a:gd name="T17" fmla="*/ 69 h 120"/>
                  <a:gd name="T18" fmla="*/ 203 w 259"/>
                  <a:gd name="T19" fmla="*/ 90 h 120"/>
                  <a:gd name="T20" fmla="*/ 150 w 259"/>
                  <a:gd name="T21" fmla="*/ 51 h 120"/>
                  <a:gd name="T22" fmla="*/ 56 w 259"/>
                  <a:gd name="T23" fmla="*/ 29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9" h="120">
                    <a:moveTo>
                      <a:pt x="237" y="105"/>
                    </a:moveTo>
                    <a:cubicBezTo>
                      <a:pt x="202" y="120"/>
                      <a:pt x="149" y="113"/>
                      <a:pt x="78" y="84"/>
                    </a:cubicBezTo>
                    <a:cubicBezTo>
                      <a:pt x="42" y="68"/>
                      <a:pt x="19" y="55"/>
                      <a:pt x="9" y="43"/>
                    </a:cubicBezTo>
                    <a:cubicBezTo>
                      <a:pt x="0" y="31"/>
                      <a:pt x="4" y="21"/>
                      <a:pt x="22" y="14"/>
                    </a:cubicBezTo>
                    <a:cubicBezTo>
                      <a:pt x="57" y="0"/>
                      <a:pt x="110" y="7"/>
                      <a:pt x="182" y="37"/>
                    </a:cubicBezTo>
                    <a:cubicBezTo>
                      <a:pt x="217" y="52"/>
                      <a:pt x="240" y="65"/>
                      <a:pt x="249" y="77"/>
                    </a:cubicBezTo>
                    <a:cubicBezTo>
                      <a:pt x="259" y="89"/>
                      <a:pt x="255" y="98"/>
                      <a:pt x="237" y="105"/>
                    </a:cubicBezTo>
                    <a:close/>
                    <a:moveTo>
                      <a:pt x="56" y="29"/>
                    </a:moveTo>
                    <a:cubicBezTo>
                      <a:pt x="42" y="35"/>
                      <a:pt x="60" y="48"/>
                      <a:pt x="111" y="69"/>
                    </a:cubicBezTo>
                    <a:cubicBezTo>
                      <a:pt x="158" y="89"/>
                      <a:pt x="189" y="96"/>
                      <a:pt x="203" y="90"/>
                    </a:cubicBezTo>
                    <a:cubicBezTo>
                      <a:pt x="216" y="85"/>
                      <a:pt x="199" y="72"/>
                      <a:pt x="150" y="51"/>
                    </a:cubicBezTo>
                    <a:cubicBezTo>
                      <a:pt x="101" y="31"/>
                      <a:pt x="70" y="24"/>
                      <a:pt x="56" y="29"/>
                    </a:cubicBezTo>
                    <a:close/>
                  </a:path>
                </a:pathLst>
              </a:custGeom>
              <a:solidFill>
                <a:srgbClr val="125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52">
                <a:extLst>
                  <a:ext uri="{FF2B5EF4-FFF2-40B4-BE49-F238E27FC236}">
                    <a16:creationId xmlns:a16="http://schemas.microsoft.com/office/drawing/2014/main" id="{57E84B52-EA1E-46D5-AFAF-EA6F1DAD72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2" y="2403"/>
                <a:ext cx="681" cy="281"/>
              </a:xfrm>
              <a:custGeom>
                <a:avLst/>
                <a:gdLst>
                  <a:gd name="T0" fmla="*/ 187 w 288"/>
                  <a:gd name="T1" fmla="*/ 88 h 119"/>
                  <a:gd name="T2" fmla="*/ 250 w 288"/>
                  <a:gd name="T3" fmla="*/ 62 h 119"/>
                  <a:gd name="T4" fmla="*/ 288 w 288"/>
                  <a:gd name="T5" fmla="*/ 78 h 119"/>
                  <a:gd name="T6" fmla="*/ 189 w 288"/>
                  <a:gd name="T7" fmla="*/ 119 h 119"/>
                  <a:gd name="T8" fmla="*/ 173 w 288"/>
                  <a:gd name="T9" fmla="*/ 112 h 119"/>
                  <a:gd name="T10" fmla="*/ 148 w 288"/>
                  <a:gd name="T11" fmla="*/ 99 h 119"/>
                  <a:gd name="T12" fmla="*/ 135 w 288"/>
                  <a:gd name="T13" fmla="*/ 85 h 119"/>
                  <a:gd name="T14" fmla="*/ 129 w 288"/>
                  <a:gd name="T15" fmla="*/ 72 h 119"/>
                  <a:gd name="T16" fmla="*/ 128 w 288"/>
                  <a:gd name="T17" fmla="*/ 61 h 119"/>
                  <a:gd name="T18" fmla="*/ 127 w 288"/>
                  <a:gd name="T19" fmla="*/ 51 h 119"/>
                  <a:gd name="T20" fmla="*/ 124 w 288"/>
                  <a:gd name="T21" fmla="*/ 43 h 119"/>
                  <a:gd name="T22" fmla="*/ 117 w 288"/>
                  <a:gd name="T23" fmla="*/ 35 h 119"/>
                  <a:gd name="T24" fmla="*/ 105 w 288"/>
                  <a:gd name="T25" fmla="*/ 29 h 119"/>
                  <a:gd name="T26" fmla="*/ 79 w 288"/>
                  <a:gd name="T27" fmla="*/ 23 h 119"/>
                  <a:gd name="T28" fmla="*/ 56 w 288"/>
                  <a:gd name="T29" fmla="*/ 27 h 119"/>
                  <a:gd name="T30" fmla="*/ 41 w 288"/>
                  <a:gd name="T31" fmla="*/ 51 h 119"/>
                  <a:gd name="T32" fmla="*/ 0 w 288"/>
                  <a:gd name="T33" fmla="*/ 34 h 119"/>
                  <a:gd name="T34" fmla="*/ 26 w 288"/>
                  <a:gd name="T35" fmla="*/ 9 h 119"/>
                  <a:gd name="T36" fmla="*/ 51 w 288"/>
                  <a:gd name="T37" fmla="*/ 2 h 119"/>
                  <a:gd name="T38" fmla="*/ 78 w 288"/>
                  <a:gd name="T39" fmla="*/ 1 h 119"/>
                  <a:gd name="T40" fmla="*/ 106 w 288"/>
                  <a:gd name="T41" fmla="*/ 5 h 119"/>
                  <a:gd name="T42" fmla="*/ 134 w 288"/>
                  <a:gd name="T43" fmla="*/ 14 h 119"/>
                  <a:gd name="T44" fmla="*/ 157 w 288"/>
                  <a:gd name="T45" fmla="*/ 26 h 119"/>
                  <a:gd name="T46" fmla="*/ 169 w 288"/>
                  <a:gd name="T47" fmla="*/ 38 h 119"/>
                  <a:gd name="T48" fmla="*/ 174 w 288"/>
                  <a:gd name="T49" fmla="*/ 50 h 119"/>
                  <a:gd name="T50" fmla="*/ 174 w 288"/>
                  <a:gd name="T51" fmla="*/ 62 h 119"/>
                  <a:gd name="T52" fmla="*/ 175 w 288"/>
                  <a:gd name="T53" fmla="*/ 70 h 119"/>
                  <a:gd name="T54" fmla="*/ 176 w 288"/>
                  <a:gd name="T55" fmla="*/ 77 h 119"/>
                  <a:gd name="T56" fmla="*/ 180 w 288"/>
                  <a:gd name="T57" fmla="*/ 83 h 119"/>
                  <a:gd name="T58" fmla="*/ 187 w 288"/>
                  <a:gd name="T59" fmla="*/ 88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88" h="119">
                    <a:moveTo>
                      <a:pt x="187" y="88"/>
                    </a:moveTo>
                    <a:cubicBezTo>
                      <a:pt x="250" y="62"/>
                      <a:pt x="250" y="62"/>
                      <a:pt x="250" y="62"/>
                    </a:cubicBezTo>
                    <a:cubicBezTo>
                      <a:pt x="288" y="78"/>
                      <a:pt x="288" y="78"/>
                      <a:pt x="288" y="78"/>
                    </a:cubicBezTo>
                    <a:cubicBezTo>
                      <a:pt x="189" y="119"/>
                      <a:pt x="189" y="119"/>
                      <a:pt x="189" y="119"/>
                    </a:cubicBezTo>
                    <a:cubicBezTo>
                      <a:pt x="173" y="112"/>
                      <a:pt x="173" y="112"/>
                      <a:pt x="173" y="112"/>
                    </a:cubicBezTo>
                    <a:cubicBezTo>
                      <a:pt x="163" y="108"/>
                      <a:pt x="154" y="103"/>
                      <a:pt x="148" y="99"/>
                    </a:cubicBezTo>
                    <a:cubicBezTo>
                      <a:pt x="142" y="94"/>
                      <a:pt x="138" y="89"/>
                      <a:pt x="135" y="85"/>
                    </a:cubicBezTo>
                    <a:cubicBezTo>
                      <a:pt x="132" y="81"/>
                      <a:pt x="130" y="76"/>
                      <a:pt x="129" y="72"/>
                    </a:cubicBezTo>
                    <a:cubicBezTo>
                      <a:pt x="129" y="68"/>
                      <a:pt x="128" y="64"/>
                      <a:pt x="128" y="61"/>
                    </a:cubicBezTo>
                    <a:cubicBezTo>
                      <a:pt x="128" y="57"/>
                      <a:pt x="128" y="54"/>
                      <a:pt x="127" y="51"/>
                    </a:cubicBezTo>
                    <a:cubicBezTo>
                      <a:pt x="127" y="48"/>
                      <a:pt x="125" y="45"/>
                      <a:pt x="124" y="43"/>
                    </a:cubicBezTo>
                    <a:cubicBezTo>
                      <a:pt x="122" y="40"/>
                      <a:pt x="120" y="38"/>
                      <a:pt x="117" y="35"/>
                    </a:cubicBezTo>
                    <a:cubicBezTo>
                      <a:pt x="114" y="33"/>
                      <a:pt x="110" y="31"/>
                      <a:pt x="105" y="29"/>
                    </a:cubicBezTo>
                    <a:cubicBezTo>
                      <a:pt x="96" y="26"/>
                      <a:pt x="88" y="24"/>
                      <a:pt x="79" y="23"/>
                    </a:cubicBezTo>
                    <a:cubicBezTo>
                      <a:pt x="71" y="23"/>
                      <a:pt x="63" y="24"/>
                      <a:pt x="56" y="27"/>
                    </a:cubicBezTo>
                    <a:cubicBezTo>
                      <a:pt x="43" y="32"/>
                      <a:pt x="38" y="40"/>
                      <a:pt x="41" y="51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1" y="24"/>
                      <a:pt x="10" y="16"/>
                      <a:pt x="26" y="9"/>
                    </a:cubicBezTo>
                    <a:cubicBezTo>
                      <a:pt x="34" y="6"/>
                      <a:pt x="42" y="3"/>
                      <a:pt x="51" y="2"/>
                    </a:cubicBezTo>
                    <a:cubicBezTo>
                      <a:pt x="59" y="1"/>
                      <a:pt x="68" y="0"/>
                      <a:pt x="78" y="1"/>
                    </a:cubicBezTo>
                    <a:cubicBezTo>
                      <a:pt x="87" y="1"/>
                      <a:pt x="97" y="3"/>
                      <a:pt x="106" y="5"/>
                    </a:cubicBezTo>
                    <a:cubicBezTo>
                      <a:pt x="116" y="7"/>
                      <a:pt x="125" y="10"/>
                      <a:pt x="134" y="14"/>
                    </a:cubicBezTo>
                    <a:cubicBezTo>
                      <a:pt x="144" y="18"/>
                      <a:pt x="151" y="22"/>
                      <a:pt x="157" y="26"/>
                    </a:cubicBezTo>
                    <a:cubicBezTo>
                      <a:pt x="162" y="30"/>
                      <a:pt x="166" y="34"/>
                      <a:pt x="169" y="38"/>
                    </a:cubicBezTo>
                    <a:cubicBezTo>
                      <a:pt x="172" y="42"/>
                      <a:pt x="173" y="46"/>
                      <a:pt x="174" y="50"/>
                    </a:cubicBezTo>
                    <a:cubicBezTo>
                      <a:pt x="174" y="54"/>
                      <a:pt x="175" y="58"/>
                      <a:pt x="174" y="62"/>
                    </a:cubicBezTo>
                    <a:cubicBezTo>
                      <a:pt x="174" y="65"/>
                      <a:pt x="175" y="67"/>
                      <a:pt x="175" y="70"/>
                    </a:cubicBezTo>
                    <a:cubicBezTo>
                      <a:pt x="175" y="73"/>
                      <a:pt x="175" y="75"/>
                      <a:pt x="176" y="77"/>
                    </a:cubicBezTo>
                    <a:cubicBezTo>
                      <a:pt x="177" y="80"/>
                      <a:pt x="178" y="82"/>
                      <a:pt x="180" y="83"/>
                    </a:cubicBezTo>
                    <a:cubicBezTo>
                      <a:pt x="182" y="85"/>
                      <a:pt x="184" y="87"/>
                      <a:pt x="187" y="88"/>
                    </a:cubicBezTo>
                    <a:close/>
                  </a:path>
                </a:pathLst>
              </a:custGeom>
              <a:solidFill>
                <a:srgbClr val="125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8" name="Freeform 53">
                <a:extLst>
                  <a:ext uri="{FF2B5EF4-FFF2-40B4-BE49-F238E27FC236}">
                    <a16:creationId xmlns:a16="http://schemas.microsoft.com/office/drawing/2014/main" id="{A79141D8-FF78-4D6E-969E-E4E89633CFE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32" y="1598"/>
                <a:ext cx="613" cy="284"/>
              </a:xfrm>
              <a:custGeom>
                <a:avLst/>
                <a:gdLst>
                  <a:gd name="T0" fmla="*/ 237 w 259"/>
                  <a:gd name="T1" fmla="*/ 105 h 120"/>
                  <a:gd name="T2" fmla="*/ 78 w 259"/>
                  <a:gd name="T3" fmla="*/ 84 h 120"/>
                  <a:gd name="T4" fmla="*/ 9 w 259"/>
                  <a:gd name="T5" fmla="*/ 43 h 120"/>
                  <a:gd name="T6" fmla="*/ 22 w 259"/>
                  <a:gd name="T7" fmla="*/ 14 h 120"/>
                  <a:gd name="T8" fmla="*/ 182 w 259"/>
                  <a:gd name="T9" fmla="*/ 37 h 120"/>
                  <a:gd name="T10" fmla="*/ 249 w 259"/>
                  <a:gd name="T11" fmla="*/ 77 h 120"/>
                  <a:gd name="T12" fmla="*/ 237 w 259"/>
                  <a:gd name="T13" fmla="*/ 105 h 120"/>
                  <a:gd name="T14" fmla="*/ 56 w 259"/>
                  <a:gd name="T15" fmla="*/ 29 h 120"/>
                  <a:gd name="T16" fmla="*/ 111 w 259"/>
                  <a:gd name="T17" fmla="*/ 69 h 120"/>
                  <a:gd name="T18" fmla="*/ 203 w 259"/>
                  <a:gd name="T19" fmla="*/ 90 h 120"/>
                  <a:gd name="T20" fmla="*/ 150 w 259"/>
                  <a:gd name="T21" fmla="*/ 51 h 120"/>
                  <a:gd name="T22" fmla="*/ 56 w 259"/>
                  <a:gd name="T23" fmla="*/ 29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9" h="120">
                    <a:moveTo>
                      <a:pt x="237" y="105"/>
                    </a:moveTo>
                    <a:cubicBezTo>
                      <a:pt x="202" y="120"/>
                      <a:pt x="149" y="113"/>
                      <a:pt x="78" y="84"/>
                    </a:cubicBezTo>
                    <a:cubicBezTo>
                      <a:pt x="42" y="68"/>
                      <a:pt x="19" y="55"/>
                      <a:pt x="9" y="43"/>
                    </a:cubicBezTo>
                    <a:cubicBezTo>
                      <a:pt x="0" y="31"/>
                      <a:pt x="4" y="21"/>
                      <a:pt x="22" y="14"/>
                    </a:cubicBezTo>
                    <a:cubicBezTo>
                      <a:pt x="57" y="0"/>
                      <a:pt x="110" y="7"/>
                      <a:pt x="182" y="37"/>
                    </a:cubicBezTo>
                    <a:cubicBezTo>
                      <a:pt x="217" y="52"/>
                      <a:pt x="240" y="65"/>
                      <a:pt x="249" y="77"/>
                    </a:cubicBezTo>
                    <a:cubicBezTo>
                      <a:pt x="259" y="89"/>
                      <a:pt x="255" y="98"/>
                      <a:pt x="237" y="105"/>
                    </a:cubicBezTo>
                    <a:close/>
                    <a:moveTo>
                      <a:pt x="56" y="29"/>
                    </a:moveTo>
                    <a:cubicBezTo>
                      <a:pt x="42" y="35"/>
                      <a:pt x="60" y="48"/>
                      <a:pt x="111" y="69"/>
                    </a:cubicBezTo>
                    <a:cubicBezTo>
                      <a:pt x="158" y="89"/>
                      <a:pt x="189" y="96"/>
                      <a:pt x="203" y="90"/>
                    </a:cubicBezTo>
                    <a:cubicBezTo>
                      <a:pt x="216" y="85"/>
                      <a:pt x="199" y="72"/>
                      <a:pt x="150" y="51"/>
                    </a:cubicBezTo>
                    <a:cubicBezTo>
                      <a:pt x="101" y="31"/>
                      <a:pt x="70" y="24"/>
                      <a:pt x="56" y="2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9" name="Freeform 54">
                <a:extLst>
                  <a:ext uri="{FF2B5EF4-FFF2-40B4-BE49-F238E27FC236}">
                    <a16:creationId xmlns:a16="http://schemas.microsoft.com/office/drawing/2014/main" id="{8E427714-A2DA-4AD7-B1C4-55F1248519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3" y="1499"/>
                <a:ext cx="626" cy="265"/>
              </a:xfrm>
              <a:custGeom>
                <a:avLst/>
                <a:gdLst>
                  <a:gd name="T0" fmla="*/ 191 w 265"/>
                  <a:gd name="T1" fmla="*/ 112 h 112"/>
                  <a:gd name="T2" fmla="*/ 150 w 265"/>
                  <a:gd name="T3" fmla="*/ 96 h 112"/>
                  <a:gd name="T4" fmla="*/ 201 w 265"/>
                  <a:gd name="T5" fmla="*/ 88 h 112"/>
                  <a:gd name="T6" fmla="*/ 213 w 265"/>
                  <a:gd name="T7" fmla="*/ 76 h 112"/>
                  <a:gd name="T8" fmla="*/ 198 w 265"/>
                  <a:gd name="T9" fmla="*/ 65 h 112"/>
                  <a:gd name="T10" fmla="*/ 168 w 265"/>
                  <a:gd name="T11" fmla="*/ 59 h 112"/>
                  <a:gd name="T12" fmla="*/ 137 w 265"/>
                  <a:gd name="T13" fmla="*/ 66 h 112"/>
                  <a:gd name="T14" fmla="*/ 123 w 265"/>
                  <a:gd name="T15" fmla="*/ 72 h 112"/>
                  <a:gd name="T16" fmla="*/ 87 w 265"/>
                  <a:gd name="T17" fmla="*/ 57 h 112"/>
                  <a:gd name="T18" fmla="*/ 100 w 265"/>
                  <a:gd name="T19" fmla="*/ 52 h 112"/>
                  <a:gd name="T20" fmla="*/ 102 w 265"/>
                  <a:gd name="T21" fmla="*/ 28 h 112"/>
                  <a:gd name="T22" fmla="*/ 54 w 265"/>
                  <a:gd name="T23" fmla="*/ 27 h 112"/>
                  <a:gd name="T24" fmla="*/ 38 w 265"/>
                  <a:gd name="T25" fmla="*/ 44 h 112"/>
                  <a:gd name="T26" fmla="*/ 0 w 265"/>
                  <a:gd name="T27" fmla="*/ 29 h 112"/>
                  <a:gd name="T28" fmla="*/ 26 w 265"/>
                  <a:gd name="T29" fmla="*/ 9 h 112"/>
                  <a:gd name="T30" fmla="*/ 76 w 265"/>
                  <a:gd name="T31" fmla="*/ 0 h 112"/>
                  <a:gd name="T32" fmla="*/ 126 w 265"/>
                  <a:gd name="T33" fmla="*/ 11 h 112"/>
                  <a:gd name="T34" fmla="*/ 148 w 265"/>
                  <a:gd name="T35" fmla="*/ 44 h 112"/>
                  <a:gd name="T36" fmla="*/ 149 w 265"/>
                  <a:gd name="T37" fmla="*/ 45 h 112"/>
                  <a:gd name="T38" fmla="*/ 190 w 265"/>
                  <a:gd name="T39" fmla="*/ 41 h 112"/>
                  <a:gd name="T40" fmla="*/ 232 w 265"/>
                  <a:gd name="T41" fmla="*/ 51 h 112"/>
                  <a:gd name="T42" fmla="*/ 264 w 265"/>
                  <a:gd name="T43" fmla="*/ 77 h 112"/>
                  <a:gd name="T44" fmla="*/ 239 w 265"/>
                  <a:gd name="T45" fmla="*/ 101 h 112"/>
                  <a:gd name="T46" fmla="*/ 191 w 265"/>
                  <a:gd name="T47" fmla="*/ 11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65" h="112">
                    <a:moveTo>
                      <a:pt x="191" y="112"/>
                    </a:moveTo>
                    <a:cubicBezTo>
                      <a:pt x="150" y="96"/>
                      <a:pt x="150" y="96"/>
                      <a:pt x="150" y="96"/>
                    </a:cubicBezTo>
                    <a:cubicBezTo>
                      <a:pt x="171" y="96"/>
                      <a:pt x="187" y="93"/>
                      <a:pt x="201" y="88"/>
                    </a:cubicBezTo>
                    <a:cubicBezTo>
                      <a:pt x="209" y="84"/>
                      <a:pt x="213" y="80"/>
                      <a:pt x="213" y="76"/>
                    </a:cubicBezTo>
                    <a:cubicBezTo>
                      <a:pt x="212" y="72"/>
                      <a:pt x="207" y="68"/>
                      <a:pt x="198" y="65"/>
                    </a:cubicBezTo>
                    <a:cubicBezTo>
                      <a:pt x="189" y="61"/>
                      <a:pt x="179" y="59"/>
                      <a:pt x="168" y="59"/>
                    </a:cubicBezTo>
                    <a:cubicBezTo>
                      <a:pt x="157" y="59"/>
                      <a:pt x="147" y="62"/>
                      <a:pt x="137" y="66"/>
                    </a:cubicBezTo>
                    <a:cubicBezTo>
                      <a:pt x="123" y="72"/>
                      <a:pt x="123" y="72"/>
                      <a:pt x="123" y="72"/>
                    </a:cubicBezTo>
                    <a:cubicBezTo>
                      <a:pt x="87" y="57"/>
                      <a:pt x="87" y="57"/>
                      <a:pt x="87" y="57"/>
                    </a:cubicBezTo>
                    <a:cubicBezTo>
                      <a:pt x="100" y="52"/>
                      <a:pt x="100" y="52"/>
                      <a:pt x="100" y="52"/>
                    </a:cubicBezTo>
                    <a:cubicBezTo>
                      <a:pt x="119" y="44"/>
                      <a:pt x="120" y="36"/>
                      <a:pt x="102" y="28"/>
                    </a:cubicBezTo>
                    <a:cubicBezTo>
                      <a:pt x="85" y="21"/>
                      <a:pt x="69" y="21"/>
                      <a:pt x="54" y="27"/>
                    </a:cubicBezTo>
                    <a:cubicBezTo>
                      <a:pt x="44" y="31"/>
                      <a:pt x="39" y="37"/>
                      <a:pt x="38" y="44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3" y="21"/>
                      <a:pt x="12" y="15"/>
                      <a:pt x="26" y="9"/>
                    </a:cubicBezTo>
                    <a:cubicBezTo>
                      <a:pt x="41" y="3"/>
                      <a:pt x="58" y="0"/>
                      <a:pt x="76" y="0"/>
                    </a:cubicBezTo>
                    <a:cubicBezTo>
                      <a:pt x="94" y="1"/>
                      <a:pt x="111" y="4"/>
                      <a:pt x="126" y="11"/>
                    </a:cubicBezTo>
                    <a:cubicBezTo>
                      <a:pt x="154" y="22"/>
                      <a:pt x="161" y="33"/>
                      <a:pt x="148" y="44"/>
                    </a:cubicBezTo>
                    <a:cubicBezTo>
                      <a:pt x="149" y="45"/>
                      <a:pt x="149" y="45"/>
                      <a:pt x="149" y="45"/>
                    </a:cubicBezTo>
                    <a:cubicBezTo>
                      <a:pt x="162" y="41"/>
                      <a:pt x="175" y="40"/>
                      <a:pt x="190" y="41"/>
                    </a:cubicBezTo>
                    <a:cubicBezTo>
                      <a:pt x="205" y="42"/>
                      <a:pt x="219" y="46"/>
                      <a:pt x="232" y="51"/>
                    </a:cubicBezTo>
                    <a:cubicBezTo>
                      <a:pt x="252" y="59"/>
                      <a:pt x="263" y="68"/>
                      <a:pt x="264" y="77"/>
                    </a:cubicBezTo>
                    <a:cubicBezTo>
                      <a:pt x="265" y="86"/>
                      <a:pt x="257" y="94"/>
                      <a:pt x="239" y="101"/>
                    </a:cubicBezTo>
                    <a:cubicBezTo>
                      <a:pt x="223" y="108"/>
                      <a:pt x="207" y="111"/>
                      <a:pt x="191" y="11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0" name="Freeform 55">
                <a:extLst>
                  <a:ext uri="{FF2B5EF4-FFF2-40B4-BE49-F238E27FC236}">
                    <a16:creationId xmlns:a16="http://schemas.microsoft.com/office/drawing/2014/main" id="{6B6F616F-F100-428A-8642-D84DE619B0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7" y="266"/>
                <a:ext cx="2542" cy="989"/>
              </a:xfrm>
              <a:custGeom>
                <a:avLst/>
                <a:gdLst>
                  <a:gd name="T0" fmla="*/ 691 w 2542"/>
                  <a:gd name="T1" fmla="*/ 0 h 989"/>
                  <a:gd name="T2" fmla="*/ 1071 w 2542"/>
                  <a:gd name="T3" fmla="*/ 149 h 989"/>
                  <a:gd name="T4" fmla="*/ 0 w 2542"/>
                  <a:gd name="T5" fmla="*/ 568 h 989"/>
                  <a:gd name="T6" fmla="*/ 1071 w 2542"/>
                  <a:gd name="T7" fmla="*/ 989 h 989"/>
                  <a:gd name="T8" fmla="*/ 2145 w 2542"/>
                  <a:gd name="T9" fmla="*/ 568 h 989"/>
                  <a:gd name="T10" fmla="*/ 2542 w 2542"/>
                  <a:gd name="T11" fmla="*/ 724 h 989"/>
                  <a:gd name="T12" fmla="*/ 2542 w 2542"/>
                  <a:gd name="T13" fmla="*/ 0 h 989"/>
                  <a:gd name="T14" fmla="*/ 691 w 2542"/>
                  <a:gd name="T15" fmla="*/ 0 h 9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42" h="989">
                    <a:moveTo>
                      <a:pt x="691" y="0"/>
                    </a:moveTo>
                    <a:lnTo>
                      <a:pt x="1071" y="149"/>
                    </a:lnTo>
                    <a:lnTo>
                      <a:pt x="0" y="568"/>
                    </a:lnTo>
                    <a:lnTo>
                      <a:pt x="1071" y="989"/>
                    </a:lnTo>
                    <a:lnTo>
                      <a:pt x="2145" y="568"/>
                    </a:lnTo>
                    <a:lnTo>
                      <a:pt x="2542" y="724"/>
                    </a:lnTo>
                    <a:lnTo>
                      <a:pt x="2542" y="0"/>
                    </a:lnTo>
                    <a:lnTo>
                      <a:pt x="691" y="0"/>
                    </a:lnTo>
                    <a:close/>
                  </a:path>
                </a:pathLst>
              </a:custGeom>
              <a:gradFill flip="none" rotWithShape="1">
                <a:gsLst>
                  <a:gs pos="22000">
                    <a:srgbClr val="E1FCFB"/>
                  </a:gs>
                  <a:gs pos="100000">
                    <a:srgbClr val="B0F7F4"/>
                  </a:gs>
                  <a:gs pos="0">
                    <a:schemeClr val="bg1"/>
                  </a:gs>
                </a:gsLst>
                <a:lin ang="81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" name="Freeform 56">
                <a:extLst>
                  <a:ext uri="{FF2B5EF4-FFF2-40B4-BE49-F238E27FC236}">
                    <a16:creationId xmlns:a16="http://schemas.microsoft.com/office/drawing/2014/main" id="{7C4107BA-76BB-49A0-A74E-966C2E84A7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82" y="741"/>
                <a:ext cx="613" cy="284"/>
              </a:xfrm>
              <a:custGeom>
                <a:avLst/>
                <a:gdLst>
                  <a:gd name="T0" fmla="*/ 237 w 259"/>
                  <a:gd name="T1" fmla="*/ 105 h 120"/>
                  <a:gd name="T2" fmla="*/ 78 w 259"/>
                  <a:gd name="T3" fmla="*/ 84 h 120"/>
                  <a:gd name="T4" fmla="*/ 9 w 259"/>
                  <a:gd name="T5" fmla="*/ 43 h 120"/>
                  <a:gd name="T6" fmla="*/ 22 w 259"/>
                  <a:gd name="T7" fmla="*/ 14 h 120"/>
                  <a:gd name="T8" fmla="*/ 182 w 259"/>
                  <a:gd name="T9" fmla="*/ 37 h 120"/>
                  <a:gd name="T10" fmla="*/ 249 w 259"/>
                  <a:gd name="T11" fmla="*/ 77 h 120"/>
                  <a:gd name="T12" fmla="*/ 237 w 259"/>
                  <a:gd name="T13" fmla="*/ 105 h 120"/>
                  <a:gd name="T14" fmla="*/ 56 w 259"/>
                  <a:gd name="T15" fmla="*/ 29 h 120"/>
                  <a:gd name="T16" fmla="*/ 111 w 259"/>
                  <a:gd name="T17" fmla="*/ 69 h 120"/>
                  <a:gd name="T18" fmla="*/ 203 w 259"/>
                  <a:gd name="T19" fmla="*/ 90 h 120"/>
                  <a:gd name="T20" fmla="*/ 150 w 259"/>
                  <a:gd name="T21" fmla="*/ 51 h 120"/>
                  <a:gd name="T22" fmla="*/ 56 w 259"/>
                  <a:gd name="T23" fmla="*/ 29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9" h="120">
                    <a:moveTo>
                      <a:pt x="237" y="105"/>
                    </a:moveTo>
                    <a:cubicBezTo>
                      <a:pt x="202" y="120"/>
                      <a:pt x="149" y="113"/>
                      <a:pt x="78" y="84"/>
                    </a:cubicBezTo>
                    <a:cubicBezTo>
                      <a:pt x="42" y="68"/>
                      <a:pt x="19" y="55"/>
                      <a:pt x="9" y="43"/>
                    </a:cubicBezTo>
                    <a:cubicBezTo>
                      <a:pt x="0" y="31"/>
                      <a:pt x="4" y="21"/>
                      <a:pt x="22" y="14"/>
                    </a:cubicBezTo>
                    <a:cubicBezTo>
                      <a:pt x="57" y="0"/>
                      <a:pt x="110" y="7"/>
                      <a:pt x="182" y="37"/>
                    </a:cubicBezTo>
                    <a:cubicBezTo>
                      <a:pt x="217" y="52"/>
                      <a:pt x="240" y="65"/>
                      <a:pt x="249" y="77"/>
                    </a:cubicBezTo>
                    <a:cubicBezTo>
                      <a:pt x="259" y="89"/>
                      <a:pt x="255" y="98"/>
                      <a:pt x="237" y="105"/>
                    </a:cubicBezTo>
                    <a:close/>
                    <a:moveTo>
                      <a:pt x="56" y="29"/>
                    </a:moveTo>
                    <a:cubicBezTo>
                      <a:pt x="42" y="35"/>
                      <a:pt x="60" y="48"/>
                      <a:pt x="111" y="69"/>
                    </a:cubicBezTo>
                    <a:cubicBezTo>
                      <a:pt x="158" y="89"/>
                      <a:pt x="189" y="96"/>
                      <a:pt x="203" y="90"/>
                    </a:cubicBezTo>
                    <a:cubicBezTo>
                      <a:pt x="216" y="85"/>
                      <a:pt x="199" y="72"/>
                      <a:pt x="150" y="51"/>
                    </a:cubicBezTo>
                    <a:cubicBezTo>
                      <a:pt x="101" y="31"/>
                      <a:pt x="70" y="24"/>
                      <a:pt x="56" y="29"/>
                    </a:cubicBezTo>
                    <a:close/>
                  </a:path>
                </a:pathLst>
              </a:custGeom>
              <a:solidFill>
                <a:srgbClr val="125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" name="Freeform 57">
                <a:extLst>
                  <a:ext uri="{FF2B5EF4-FFF2-40B4-BE49-F238E27FC236}">
                    <a16:creationId xmlns:a16="http://schemas.microsoft.com/office/drawing/2014/main" id="{BF9FDCE2-A0C8-467D-9424-290AB82AA9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44" y="623"/>
                <a:ext cx="570" cy="258"/>
              </a:xfrm>
              <a:custGeom>
                <a:avLst/>
                <a:gdLst>
                  <a:gd name="T0" fmla="*/ 31 w 241"/>
                  <a:gd name="T1" fmla="*/ 0 h 109"/>
                  <a:gd name="T2" fmla="*/ 164 w 241"/>
                  <a:gd name="T3" fmla="*/ 55 h 109"/>
                  <a:gd name="T4" fmla="*/ 181 w 241"/>
                  <a:gd name="T5" fmla="*/ 48 h 109"/>
                  <a:gd name="T6" fmla="*/ 216 w 241"/>
                  <a:gd name="T7" fmla="*/ 62 h 109"/>
                  <a:gd name="T8" fmla="*/ 198 w 241"/>
                  <a:gd name="T9" fmla="*/ 70 h 109"/>
                  <a:gd name="T10" fmla="*/ 241 w 241"/>
                  <a:gd name="T11" fmla="*/ 87 h 109"/>
                  <a:gd name="T12" fmla="*/ 211 w 241"/>
                  <a:gd name="T13" fmla="*/ 100 h 109"/>
                  <a:gd name="T14" fmla="*/ 168 w 241"/>
                  <a:gd name="T15" fmla="*/ 82 h 109"/>
                  <a:gd name="T16" fmla="*/ 103 w 241"/>
                  <a:gd name="T17" fmla="*/ 109 h 109"/>
                  <a:gd name="T18" fmla="*/ 67 w 241"/>
                  <a:gd name="T19" fmla="*/ 94 h 109"/>
                  <a:gd name="T20" fmla="*/ 55 w 241"/>
                  <a:gd name="T21" fmla="*/ 74 h 109"/>
                  <a:gd name="T22" fmla="*/ 40 w 241"/>
                  <a:gd name="T23" fmla="*/ 53 h 109"/>
                  <a:gd name="T24" fmla="*/ 21 w 241"/>
                  <a:gd name="T25" fmla="*/ 32 h 109"/>
                  <a:gd name="T26" fmla="*/ 0 w 241"/>
                  <a:gd name="T27" fmla="*/ 13 h 109"/>
                  <a:gd name="T28" fmla="*/ 31 w 241"/>
                  <a:gd name="T29" fmla="*/ 0 h 109"/>
                  <a:gd name="T30" fmla="*/ 98 w 241"/>
                  <a:gd name="T31" fmla="*/ 82 h 109"/>
                  <a:gd name="T32" fmla="*/ 134 w 241"/>
                  <a:gd name="T33" fmla="*/ 68 h 109"/>
                  <a:gd name="T34" fmla="*/ 60 w 241"/>
                  <a:gd name="T35" fmla="*/ 37 h 109"/>
                  <a:gd name="T36" fmla="*/ 72 w 241"/>
                  <a:gd name="T37" fmla="*/ 48 h 109"/>
                  <a:gd name="T38" fmla="*/ 82 w 241"/>
                  <a:gd name="T39" fmla="*/ 60 h 109"/>
                  <a:gd name="T40" fmla="*/ 91 w 241"/>
                  <a:gd name="T41" fmla="*/ 71 h 109"/>
                  <a:gd name="T42" fmla="*/ 98 w 241"/>
                  <a:gd name="T43" fmla="*/ 82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41" h="109">
                    <a:moveTo>
                      <a:pt x="31" y="0"/>
                    </a:moveTo>
                    <a:cubicBezTo>
                      <a:pt x="164" y="55"/>
                      <a:pt x="164" y="55"/>
                      <a:pt x="164" y="55"/>
                    </a:cubicBezTo>
                    <a:cubicBezTo>
                      <a:pt x="181" y="48"/>
                      <a:pt x="181" y="48"/>
                      <a:pt x="181" y="48"/>
                    </a:cubicBezTo>
                    <a:cubicBezTo>
                      <a:pt x="216" y="62"/>
                      <a:pt x="216" y="62"/>
                      <a:pt x="216" y="62"/>
                    </a:cubicBezTo>
                    <a:cubicBezTo>
                      <a:pt x="198" y="70"/>
                      <a:pt x="198" y="70"/>
                      <a:pt x="198" y="70"/>
                    </a:cubicBezTo>
                    <a:cubicBezTo>
                      <a:pt x="241" y="87"/>
                      <a:pt x="241" y="87"/>
                      <a:pt x="241" y="87"/>
                    </a:cubicBezTo>
                    <a:cubicBezTo>
                      <a:pt x="211" y="100"/>
                      <a:pt x="211" y="100"/>
                      <a:pt x="211" y="100"/>
                    </a:cubicBezTo>
                    <a:cubicBezTo>
                      <a:pt x="168" y="82"/>
                      <a:pt x="168" y="82"/>
                      <a:pt x="168" y="82"/>
                    </a:cubicBezTo>
                    <a:cubicBezTo>
                      <a:pt x="103" y="109"/>
                      <a:pt x="103" y="109"/>
                      <a:pt x="103" y="109"/>
                    </a:cubicBezTo>
                    <a:cubicBezTo>
                      <a:pt x="67" y="94"/>
                      <a:pt x="67" y="94"/>
                      <a:pt x="67" y="94"/>
                    </a:cubicBezTo>
                    <a:cubicBezTo>
                      <a:pt x="64" y="87"/>
                      <a:pt x="60" y="81"/>
                      <a:pt x="55" y="74"/>
                    </a:cubicBezTo>
                    <a:cubicBezTo>
                      <a:pt x="50" y="67"/>
                      <a:pt x="45" y="60"/>
                      <a:pt x="40" y="53"/>
                    </a:cubicBezTo>
                    <a:cubicBezTo>
                      <a:pt x="34" y="45"/>
                      <a:pt x="28" y="38"/>
                      <a:pt x="21" y="32"/>
                    </a:cubicBezTo>
                    <a:cubicBezTo>
                      <a:pt x="14" y="25"/>
                      <a:pt x="8" y="18"/>
                      <a:pt x="0" y="13"/>
                    </a:cubicBezTo>
                    <a:lnTo>
                      <a:pt x="31" y="0"/>
                    </a:lnTo>
                    <a:close/>
                    <a:moveTo>
                      <a:pt x="98" y="82"/>
                    </a:moveTo>
                    <a:cubicBezTo>
                      <a:pt x="134" y="68"/>
                      <a:pt x="134" y="68"/>
                      <a:pt x="134" y="68"/>
                    </a:cubicBezTo>
                    <a:cubicBezTo>
                      <a:pt x="60" y="37"/>
                      <a:pt x="60" y="37"/>
                      <a:pt x="60" y="37"/>
                    </a:cubicBezTo>
                    <a:cubicBezTo>
                      <a:pt x="64" y="41"/>
                      <a:pt x="68" y="44"/>
                      <a:pt x="72" y="48"/>
                    </a:cubicBezTo>
                    <a:cubicBezTo>
                      <a:pt x="75" y="52"/>
                      <a:pt x="79" y="56"/>
                      <a:pt x="82" y="60"/>
                    </a:cubicBezTo>
                    <a:cubicBezTo>
                      <a:pt x="85" y="64"/>
                      <a:pt x="88" y="68"/>
                      <a:pt x="91" y="71"/>
                    </a:cubicBezTo>
                    <a:cubicBezTo>
                      <a:pt x="93" y="75"/>
                      <a:pt x="96" y="79"/>
                      <a:pt x="98" y="82"/>
                    </a:cubicBezTo>
                    <a:close/>
                  </a:path>
                </a:pathLst>
              </a:custGeom>
              <a:solidFill>
                <a:srgbClr val="1256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" name="Freeform 58">
                <a:extLst>
                  <a:ext uri="{FF2B5EF4-FFF2-40B4-BE49-F238E27FC236}">
                    <a16:creationId xmlns:a16="http://schemas.microsoft.com/office/drawing/2014/main" id="{B4E9437E-9A97-4128-9B41-C753E44312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2" y="834"/>
                <a:ext cx="397" cy="312"/>
              </a:xfrm>
              <a:custGeom>
                <a:avLst/>
                <a:gdLst>
                  <a:gd name="T0" fmla="*/ 397 w 397"/>
                  <a:gd name="T1" fmla="*/ 156 h 312"/>
                  <a:gd name="T2" fmla="*/ 0 w 397"/>
                  <a:gd name="T3" fmla="*/ 0 h 312"/>
                  <a:gd name="T4" fmla="*/ 0 w 397"/>
                  <a:gd name="T5" fmla="*/ 156 h 312"/>
                  <a:gd name="T6" fmla="*/ 397 w 397"/>
                  <a:gd name="T7" fmla="*/ 312 h 312"/>
                  <a:gd name="T8" fmla="*/ 397 w 397"/>
                  <a:gd name="T9" fmla="*/ 156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7" h="312">
                    <a:moveTo>
                      <a:pt x="397" y="156"/>
                    </a:moveTo>
                    <a:lnTo>
                      <a:pt x="0" y="0"/>
                    </a:lnTo>
                    <a:lnTo>
                      <a:pt x="0" y="156"/>
                    </a:lnTo>
                    <a:lnTo>
                      <a:pt x="397" y="312"/>
                    </a:lnTo>
                    <a:lnTo>
                      <a:pt x="397" y="156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B0F7F4"/>
                  </a:gs>
                  <a:gs pos="0">
                    <a:srgbClr val="125680"/>
                  </a:gs>
                </a:gsLst>
                <a:lin ang="8100000" scaled="1"/>
                <a:tileRect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85" name="Group 4">
            <a:extLst>
              <a:ext uri="{FF2B5EF4-FFF2-40B4-BE49-F238E27FC236}">
                <a16:creationId xmlns:a16="http://schemas.microsoft.com/office/drawing/2014/main" id="{B455361B-63A0-4E80-8A29-DE9CB88C8749}"/>
              </a:ext>
            </a:extLst>
          </p:cNvPr>
          <p:cNvGrpSpPr>
            <a:grpSpLocks noChangeAspect="1"/>
          </p:cNvGrpSpPr>
          <p:nvPr/>
        </p:nvGrpSpPr>
        <p:grpSpPr bwMode="auto">
          <a:xfrm flipH="1">
            <a:off x="3670830" y="1598156"/>
            <a:ext cx="2921862" cy="5233066"/>
            <a:chOff x="3532" y="1579"/>
            <a:chExt cx="616" cy="1164"/>
          </a:xfrm>
        </p:grpSpPr>
        <p:sp>
          <p:nvSpPr>
            <p:cNvPr id="86" name="Freeform 5">
              <a:extLst>
                <a:ext uri="{FF2B5EF4-FFF2-40B4-BE49-F238E27FC236}">
                  <a16:creationId xmlns:a16="http://schemas.microsoft.com/office/drawing/2014/main" id="{604F6412-364B-48A1-B2E8-009B3B47F0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2" y="1579"/>
              <a:ext cx="616" cy="1164"/>
            </a:xfrm>
            <a:custGeom>
              <a:avLst/>
              <a:gdLst>
                <a:gd name="T0" fmla="*/ 238 w 258"/>
                <a:gd name="T1" fmla="*/ 490 h 490"/>
                <a:gd name="T2" fmla="*/ 20 w 258"/>
                <a:gd name="T3" fmla="*/ 490 h 490"/>
                <a:gd name="T4" fmla="*/ 0 w 258"/>
                <a:gd name="T5" fmla="*/ 470 h 490"/>
                <a:gd name="T6" fmla="*/ 0 w 258"/>
                <a:gd name="T7" fmla="*/ 20 h 490"/>
                <a:gd name="T8" fmla="*/ 20 w 258"/>
                <a:gd name="T9" fmla="*/ 0 h 490"/>
                <a:gd name="T10" fmla="*/ 238 w 258"/>
                <a:gd name="T11" fmla="*/ 0 h 490"/>
                <a:gd name="T12" fmla="*/ 258 w 258"/>
                <a:gd name="T13" fmla="*/ 20 h 490"/>
                <a:gd name="T14" fmla="*/ 258 w 258"/>
                <a:gd name="T15" fmla="*/ 470 h 490"/>
                <a:gd name="T16" fmla="*/ 238 w 258"/>
                <a:gd name="T17" fmla="*/ 49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490">
                  <a:moveTo>
                    <a:pt x="238" y="490"/>
                  </a:moveTo>
                  <a:cubicBezTo>
                    <a:pt x="20" y="490"/>
                    <a:pt x="20" y="490"/>
                    <a:pt x="20" y="490"/>
                  </a:cubicBezTo>
                  <a:cubicBezTo>
                    <a:pt x="9" y="490"/>
                    <a:pt x="0" y="481"/>
                    <a:pt x="0" y="47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238" y="0"/>
                    <a:pt x="238" y="0"/>
                    <a:pt x="238" y="0"/>
                  </a:cubicBezTo>
                  <a:cubicBezTo>
                    <a:pt x="249" y="0"/>
                    <a:pt x="258" y="9"/>
                    <a:pt x="258" y="20"/>
                  </a:cubicBezTo>
                  <a:cubicBezTo>
                    <a:pt x="258" y="470"/>
                    <a:pt x="258" y="470"/>
                    <a:pt x="258" y="470"/>
                  </a:cubicBezTo>
                  <a:cubicBezTo>
                    <a:pt x="258" y="481"/>
                    <a:pt x="249" y="490"/>
                    <a:pt x="238" y="490"/>
                  </a:cubicBezTo>
                  <a:close/>
                </a:path>
              </a:pathLst>
            </a:custGeom>
            <a:gradFill>
              <a:gsLst>
                <a:gs pos="100000">
                  <a:srgbClr val="B0F7F4"/>
                </a:gs>
                <a:gs pos="0">
                  <a:srgbClr val="B0F7F4"/>
                </a:gs>
                <a:gs pos="5900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Rectangle 6">
              <a:extLst>
                <a:ext uri="{FF2B5EF4-FFF2-40B4-BE49-F238E27FC236}">
                  <a16:creationId xmlns:a16="http://schemas.microsoft.com/office/drawing/2014/main" id="{953BA3DC-BF27-494E-8D58-A7970482F5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1" y="1672"/>
              <a:ext cx="556" cy="945"/>
            </a:xfrm>
            <a:prstGeom prst="rect">
              <a:avLst/>
            </a:prstGeom>
            <a:gradFill flip="none" rotWithShape="1">
              <a:gsLst>
                <a:gs pos="23000">
                  <a:srgbClr val="09192F"/>
                </a:gs>
                <a:gs pos="100000">
                  <a:srgbClr val="125680"/>
                </a:gs>
                <a:gs pos="0">
                  <a:srgbClr val="070C1E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Oval 7">
              <a:extLst>
                <a:ext uri="{FF2B5EF4-FFF2-40B4-BE49-F238E27FC236}">
                  <a16:creationId xmlns:a16="http://schemas.microsoft.com/office/drawing/2014/main" id="{6C618F7D-88E3-4D6D-8976-1A074B239E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0" y="2652"/>
              <a:ext cx="61" cy="61"/>
            </a:xfrm>
            <a:prstGeom prst="ellipse">
              <a:avLst/>
            </a:prstGeom>
            <a:gradFill flip="none" rotWithShape="1">
              <a:gsLst>
                <a:gs pos="36000">
                  <a:srgbClr val="09192F"/>
                </a:gs>
                <a:gs pos="100000">
                  <a:srgbClr val="125680"/>
                </a:gs>
                <a:gs pos="0">
                  <a:srgbClr val="070C1E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8">
              <a:extLst>
                <a:ext uri="{FF2B5EF4-FFF2-40B4-BE49-F238E27FC236}">
                  <a16:creationId xmlns:a16="http://schemas.microsoft.com/office/drawing/2014/main" id="{F19A6930-FC40-442B-9B9C-E842F8DCE8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1" y="1624"/>
              <a:ext cx="138" cy="12"/>
            </a:xfrm>
            <a:custGeom>
              <a:avLst/>
              <a:gdLst>
                <a:gd name="T0" fmla="*/ 56 w 58"/>
                <a:gd name="T1" fmla="*/ 5 h 5"/>
                <a:gd name="T2" fmla="*/ 2 w 58"/>
                <a:gd name="T3" fmla="*/ 5 h 5"/>
                <a:gd name="T4" fmla="*/ 0 w 58"/>
                <a:gd name="T5" fmla="*/ 2 h 5"/>
                <a:gd name="T6" fmla="*/ 0 w 58"/>
                <a:gd name="T7" fmla="*/ 2 h 5"/>
                <a:gd name="T8" fmla="*/ 2 w 58"/>
                <a:gd name="T9" fmla="*/ 0 h 5"/>
                <a:gd name="T10" fmla="*/ 56 w 58"/>
                <a:gd name="T11" fmla="*/ 0 h 5"/>
                <a:gd name="T12" fmla="*/ 58 w 58"/>
                <a:gd name="T13" fmla="*/ 2 h 5"/>
                <a:gd name="T14" fmla="*/ 58 w 58"/>
                <a:gd name="T15" fmla="*/ 2 h 5"/>
                <a:gd name="T16" fmla="*/ 56 w 58"/>
                <a:gd name="T1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" h="5">
                  <a:moveTo>
                    <a:pt x="56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7" y="0"/>
                    <a:pt x="58" y="1"/>
                    <a:pt x="58" y="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8" y="4"/>
                    <a:pt x="57" y="5"/>
                    <a:pt x="56" y="5"/>
                  </a:cubicBezTo>
                  <a:close/>
                </a:path>
              </a:pathLst>
            </a:custGeom>
            <a:gradFill flip="none" rotWithShape="1">
              <a:gsLst>
                <a:gs pos="36000">
                  <a:srgbClr val="09192F"/>
                </a:gs>
                <a:gs pos="100000">
                  <a:srgbClr val="125680"/>
                </a:gs>
                <a:gs pos="0">
                  <a:srgbClr val="070C1E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7" name="Picture 6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3C4A4074-2699-47E4-9287-94499EE55B5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81" b="15199"/>
          <a:stretch/>
        </p:blipFill>
        <p:spPr>
          <a:xfrm>
            <a:off x="3774558" y="1988312"/>
            <a:ext cx="2708108" cy="4346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3985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83B8"/>
            </a:gs>
            <a:gs pos="100000">
              <a:srgbClr val="7030A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E7A5DD22-4E32-4F8F-A847-7FE291BD1358}"/>
              </a:ext>
            </a:extLst>
          </p:cNvPr>
          <p:cNvSpPr/>
          <p:nvPr/>
        </p:nvSpPr>
        <p:spPr>
          <a:xfrm rot="5400000">
            <a:off x="9294643" y="4842880"/>
            <a:ext cx="3863142" cy="1931571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02C9747-202E-41E0-8BEF-BBF25331BE0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58859" y="2420938"/>
            <a:ext cx="4718841" cy="4631777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B3E961F3-288C-457C-9BA2-C911A7DF266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687930" y="1"/>
            <a:ext cx="3504070" cy="2279346"/>
          </a:xfrm>
          <a:prstGeom prst="rect">
            <a:avLst/>
          </a:prstGeom>
        </p:spPr>
      </p:pic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5C9DD4C0-72B9-4464-9AE6-96C554B321BF}"/>
              </a:ext>
            </a:extLst>
          </p:cNvPr>
          <p:cNvSpPr/>
          <p:nvPr/>
        </p:nvSpPr>
        <p:spPr>
          <a:xfrm rot="16200000">
            <a:off x="-1113197" y="1023258"/>
            <a:ext cx="4093028" cy="2046514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2" name="Graphic 71">
            <a:extLst>
              <a:ext uri="{FF2B5EF4-FFF2-40B4-BE49-F238E27FC236}">
                <a16:creationId xmlns:a16="http://schemas.microsoft.com/office/drawing/2014/main" id="{66B8B620-ECA5-4287-91FE-C7C3139C409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0" y="4790110"/>
            <a:ext cx="2581118" cy="2067890"/>
          </a:xfrm>
          <a:prstGeom prst="rect">
            <a:avLst/>
          </a:prstGeom>
        </p:spPr>
      </p:pic>
      <p:pic>
        <p:nvPicPr>
          <p:cNvPr id="74" name="Picture 73">
            <a:extLst>
              <a:ext uri="{FF2B5EF4-FFF2-40B4-BE49-F238E27FC236}">
                <a16:creationId xmlns:a16="http://schemas.microsoft.com/office/drawing/2014/main" id="{F52B06BD-3598-4CB9-9F86-C02EF38446D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flipH="1">
            <a:off x="6683091" y="5372100"/>
            <a:ext cx="3351177" cy="14859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E275B0C-A446-40E0-9322-76EEB49DA3A7}"/>
              </a:ext>
            </a:extLst>
          </p:cNvPr>
          <p:cNvSpPr txBox="1"/>
          <p:nvPr/>
        </p:nvSpPr>
        <p:spPr>
          <a:xfrm>
            <a:off x="534258" y="622892"/>
            <a:ext cx="8091574" cy="120032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cy-GB" sz="72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MINI EGYPT NEWS</a:t>
            </a:r>
            <a:endParaRPr lang="en-US" sz="72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4" name="Picture 3" descr="A picture containing building, window, drawing&#10;&#10;Description automatically generated">
            <a:extLst>
              <a:ext uri="{FF2B5EF4-FFF2-40B4-BE49-F238E27FC236}">
                <a16:creationId xmlns:a16="http://schemas.microsoft.com/office/drawing/2014/main" id="{9124D866-10BC-486E-B443-25BEFBFC9C93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176558">
            <a:off x="4012403" y="584587"/>
            <a:ext cx="651760" cy="70886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5B54D64-D7AA-4990-B486-7CEA572CCD5B}"/>
              </a:ext>
            </a:extLst>
          </p:cNvPr>
          <p:cNvSpPr txBox="1"/>
          <p:nvPr/>
        </p:nvSpPr>
        <p:spPr>
          <a:xfrm>
            <a:off x="886133" y="2331160"/>
            <a:ext cx="3897542" cy="3077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2000" b="1" u="heavy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Under supervision:</a:t>
            </a:r>
            <a:r>
              <a:rPr lang="cy-GB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</a:t>
            </a:r>
            <a:r>
              <a:rPr lang="cy-GB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Eng.Omar Ahmed</a:t>
            </a:r>
            <a:endParaRPr lang="en-US" sz="1600" dirty="0">
              <a:solidFill>
                <a:schemeClr val="tx1">
                  <a:lumMod val="85000"/>
                  <a:lumOff val="15000"/>
                </a:schemeClr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4A16770-D9B4-4E97-AC27-06A22B4FE8E2}"/>
              </a:ext>
            </a:extLst>
          </p:cNvPr>
          <p:cNvSpPr txBox="1"/>
          <p:nvPr/>
        </p:nvSpPr>
        <p:spPr>
          <a:xfrm>
            <a:off x="886133" y="2892052"/>
            <a:ext cx="4270400" cy="55399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2000" b="1" u="heavy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Team members :</a:t>
            </a:r>
            <a:r>
              <a:rPr lang="cy-GB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</a:t>
            </a:r>
            <a:r>
              <a:rPr lang="cy-GB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Abanoub Moris</a:t>
            </a:r>
          </a:p>
          <a:p>
            <a:r>
              <a:rPr lang="cy-GB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	                   AbdelHalim Mohammed</a:t>
            </a:r>
            <a:endParaRPr lang="en-US" sz="1600" dirty="0">
              <a:solidFill>
                <a:schemeClr val="tx1">
                  <a:lumMod val="85000"/>
                  <a:lumOff val="15000"/>
                </a:schemeClr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3D6BA09-0D73-4093-ADDE-9304D7C60CA2}"/>
              </a:ext>
            </a:extLst>
          </p:cNvPr>
          <p:cNvSpPr txBox="1"/>
          <p:nvPr/>
        </p:nvSpPr>
        <p:spPr>
          <a:xfrm>
            <a:off x="2132944" y="4736826"/>
            <a:ext cx="3414717" cy="120032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cy-GB" sz="72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Thanks!</a:t>
            </a:r>
            <a:endParaRPr lang="en-US" sz="72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4167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sOZgbh2gwZa1Nz_5BF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05</TotalTime>
  <Words>111</Words>
  <Application>Microsoft Office PowerPoint</Application>
  <PresentationFormat>Widescreen</PresentationFormat>
  <Paragraphs>26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Arial</vt:lpstr>
      <vt:lpstr>Calibri</vt:lpstr>
      <vt:lpstr>Calibri Light</vt:lpstr>
      <vt:lpstr>Segoe UI</vt:lpstr>
      <vt:lpstr>Segoe UI Semibold</vt:lpstr>
      <vt:lpstr>Office Theme</vt:lpstr>
      <vt:lpstr>Tema de Offic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auzy Lukman</dc:creator>
  <cp:lastModifiedBy>ابانوب موريس حبيب</cp:lastModifiedBy>
  <cp:revision>48</cp:revision>
  <dcterms:created xsi:type="dcterms:W3CDTF">2017-03-29T09:23:02Z</dcterms:created>
  <dcterms:modified xsi:type="dcterms:W3CDTF">2020-11-16T16:27:23Z</dcterms:modified>
</cp:coreProperties>
</file>